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13" r:id="rId5"/>
    <p:sldMasterId id="2147483704" r:id="rId6"/>
    <p:sldMasterId id="2147483706" r:id="rId7"/>
    <p:sldMasterId id="2147483708" r:id="rId8"/>
    <p:sldMasterId id="2147483664" r:id="rId9"/>
  </p:sldMasterIdLst>
  <p:notesMasterIdLst>
    <p:notesMasterId r:id="rId29"/>
  </p:notesMasterIdLst>
  <p:handoutMasterIdLst>
    <p:handoutMasterId r:id="rId30"/>
  </p:handoutMasterIdLst>
  <p:sldIdLst>
    <p:sldId id="257" r:id="rId10"/>
    <p:sldId id="10095" r:id="rId11"/>
    <p:sldId id="3911" r:id="rId12"/>
    <p:sldId id="10092" r:id="rId13"/>
    <p:sldId id="4520" r:id="rId14"/>
    <p:sldId id="4135" r:id="rId15"/>
    <p:sldId id="307" r:id="rId16"/>
    <p:sldId id="10014" r:id="rId17"/>
    <p:sldId id="9987" r:id="rId18"/>
    <p:sldId id="10088" r:id="rId19"/>
    <p:sldId id="10041" r:id="rId20"/>
    <p:sldId id="3871" r:id="rId21"/>
    <p:sldId id="10097" r:id="rId22"/>
    <p:sldId id="268" r:id="rId23"/>
    <p:sldId id="10089" r:id="rId24"/>
    <p:sldId id="10090" r:id="rId25"/>
    <p:sldId id="10093" r:id="rId26"/>
    <p:sldId id="269" r:id="rId27"/>
    <p:sldId id="10096" r:id="rId28"/>
  </p:sldIdLst>
  <p:sldSz cx="12192000" cy="6858000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nhard Schuster" initials="BS" lastIdx="4" clrIdx="0">
    <p:extLst>
      <p:ext uri="{19B8F6BF-5375-455C-9EA6-DF929625EA0E}">
        <p15:presenceInfo xmlns:p15="http://schemas.microsoft.com/office/powerpoint/2012/main" userId="S-1-5-21-3546929822-2776453413-1797236708-1726" providerId="AD"/>
      </p:ext>
    </p:extLst>
  </p:cmAuthor>
  <p:cmAuthor id="2" name="Pearl Angeles (Unify Consulting LLC)" initials="PA(CL" lastIdx="37" clrIdx="1">
    <p:extLst>
      <p:ext uri="{19B8F6BF-5375-455C-9EA6-DF929625EA0E}">
        <p15:presenceInfo xmlns:p15="http://schemas.microsoft.com/office/powerpoint/2012/main" userId="S::v-peaang@microsoft.com::0cbe5945-b8bd-4dff-ab80-091bbad2814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0E14"/>
    <a:srgbClr val="95C11C"/>
    <a:srgbClr val="3D3D3C"/>
    <a:srgbClr val="414141"/>
    <a:srgbClr val="009E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8A89E7-39EC-4270-A5E9-35A79F5B1068}" v="15" dt="2020-03-10T15:59:24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6" autoAdjust="0"/>
    <p:restoredTop sz="91648" autoAdjust="0"/>
  </p:normalViewPr>
  <p:slideViewPr>
    <p:cSldViewPr snapToGrid="0" snapToObjects="1">
      <p:cViewPr varScale="1">
        <p:scale>
          <a:sx n="96" d="100"/>
          <a:sy n="96" d="100"/>
        </p:scale>
        <p:origin x="60" y="32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55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microsoft.com/office/2016/11/relationships/changesInfo" Target="changesInfos/changesInfo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annes Noebauer" userId="39108b66-f5c8-4bb2-a15e-ac2c32f4bec6" providerId="ADAL" clId="{268A89E7-39EC-4270-A5E9-35A79F5B1068}"/>
    <pc:docChg chg="addSld modSld sldOrd">
      <pc:chgData name="Johannes Noebauer" userId="39108b66-f5c8-4bb2-a15e-ac2c32f4bec6" providerId="ADAL" clId="{268A89E7-39EC-4270-A5E9-35A79F5B1068}" dt="2020-03-10T15:59:24.348" v="15"/>
      <pc:docMkLst>
        <pc:docMk/>
      </pc:docMkLst>
      <pc:sldChg chg="ord">
        <pc:chgData name="Johannes Noebauer" userId="39108b66-f5c8-4bb2-a15e-ac2c32f4bec6" providerId="ADAL" clId="{268A89E7-39EC-4270-A5E9-35A79F5B1068}" dt="2020-03-10T11:38:14.802" v="6"/>
        <pc:sldMkLst>
          <pc:docMk/>
          <pc:sldMk cId="3345991704" sldId="268"/>
        </pc:sldMkLst>
      </pc:sldChg>
      <pc:sldChg chg="modSp">
        <pc:chgData name="Johannes Noebauer" userId="39108b66-f5c8-4bb2-a15e-ac2c32f4bec6" providerId="ADAL" clId="{268A89E7-39EC-4270-A5E9-35A79F5B1068}" dt="2020-03-10T11:36:37.210" v="4"/>
        <pc:sldMkLst>
          <pc:docMk/>
          <pc:sldMk cId="1569422388" sldId="3871"/>
        </pc:sldMkLst>
        <pc:spChg chg="mod">
          <ac:chgData name="Johannes Noebauer" userId="39108b66-f5c8-4bb2-a15e-ac2c32f4bec6" providerId="ADAL" clId="{268A89E7-39EC-4270-A5E9-35A79F5B1068}" dt="2020-03-10T11:36:37.210" v="4"/>
          <ac:spMkLst>
            <pc:docMk/>
            <pc:sldMk cId="1569422388" sldId="3871"/>
            <ac:spMk id="6" creationId="{2F6CC0B7-A6A5-45FE-82A9-D636D54AAFFA}"/>
          </ac:spMkLst>
        </pc:spChg>
      </pc:sldChg>
      <pc:sldChg chg="addSp delSp modSp add">
        <pc:chgData name="Johannes Noebauer" userId="39108b66-f5c8-4bb2-a15e-ac2c32f4bec6" providerId="ADAL" clId="{268A89E7-39EC-4270-A5E9-35A79F5B1068}" dt="2020-03-10T15:59:24.348" v="15"/>
        <pc:sldMkLst>
          <pc:docMk/>
          <pc:sldMk cId="98132379" sldId="10097"/>
        </pc:sldMkLst>
        <pc:spChg chg="mod">
          <ac:chgData name="Johannes Noebauer" userId="39108b66-f5c8-4bb2-a15e-ac2c32f4bec6" providerId="ADAL" clId="{268A89E7-39EC-4270-A5E9-35A79F5B1068}" dt="2020-03-10T15:59:24.348" v="15"/>
          <ac:spMkLst>
            <pc:docMk/>
            <pc:sldMk cId="98132379" sldId="10097"/>
            <ac:spMk id="3" creationId="{64786AAB-A268-4968-9CF6-FD064E93BCD5}"/>
          </ac:spMkLst>
        </pc:spChg>
        <pc:spChg chg="add del">
          <ac:chgData name="Johannes Noebauer" userId="39108b66-f5c8-4bb2-a15e-ac2c32f4bec6" providerId="ADAL" clId="{268A89E7-39EC-4270-A5E9-35A79F5B1068}" dt="2020-03-10T13:43:43.051" v="8"/>
          <ac:spMkLst>
            <pc:docMk/>
            <pc:sldMk cId="98132379" sldId="10097"/>
            <ac:spMk id="5" creationId="{50F4F1ED-09B4-4A14-BF31-D0823DC0A503}"/>
          </ac:spMkLst>
        </pc:spChg>
        <pc:spChg chg="add del">
          <ac:chgData name="Johannes Noebauer" userId="39108b66-f5c8-4bb2-a15e-ac2c32f4bec6" providerId="ADAL" clId="{268A89E7-39EC-4270-A5E9-35A79F5B1068}" dt="2020-03-10T13:43:46.322" v="10"/>
          <ac:spMkLst>
            <pc:docMk/>
            <pc:sldMk cId="98132379" sldId="10097"/>
            <ac:spMk id="6" creationId="{4A891B46-8E3B-48CF-B790-913CD07D445E}"/>
          </ac:spMkLst>
        </pc:spChg>
      </pc:sldChg>
      <pc:sldChg chg="add">
        <pc:chgData name="Johannes Noebauer" userId="39108b66-f5c8-4bb2-a15e-ac2c32f4bec6" providerId="ADAL" clId="{268A89E7-39EC-4270-A5E9-35A79F5B1068}" dt="2020-03-10T11:35:30.717" v="2"/>
        <pc:sldMkLst>
          <pc:docMk/>
          <pc:sldMk cId="105448988" sldId="10098"/>
        </pc:sldMkLst>
      </pc:sldChg>
      <pc:sldChg chg="add">
        <pc:chgData name="Johannes Noebauer" userId="39108b66-f5c8-4bb2-a15e-ac2c32f4bec6" providerId="ADAL" clId="{268A89E7-39EC-4270-A5E9-35A79F5B1068}" dt="2020-03-10T15:59:01.624" v="14"/>
        <pc:sldMkLst>
          <pc:docMk/>
          <pc:sldMk cId="3131124413" sldId="10098"/>
        </pc:sldMkLst>
      </pc:sldChg>
    </pc:docChg>
  </pc:docChgLst>
  <pc:docChgLst>
    <pc:chgData name="Johannes Noebauer" userId="39108b66-f5c8-4bb2-a15e-ac2c32f4bec6" providerId="ADAL" clId="{D6CEAED3-18D2-4C91-9DFE-B960A0A28939}"/>
    <pc:docChg chg="undo custSel addSld delSld modSld sldOrd">
      <pc:chgData name="Johannes Noebauer" userId="39108b66-f5c8-4bb2-a15e-ac2c32f4bec6" providerId="ADAL" clId="{D6CEAED3-18D2-4C91-9DFE-B960A0A28939}" dt="2019-10-24T12:27:09.588" v="243" actId="20577"/>
      <pc:docMkLst>
        <pc:docMk/>
      </pc:docMkLst>
      <pc:sldChg chg="addSp delSp modSp ord">
        <pc:chgData name="Johannes Noebauer" userId="39108b66-f5c8-4bb2-a15e-ac2c32f4bec6" providerId="ADAL" clId="{D6CEAED3-18D2-4C91-9DFE-B960A0A28939}" dt="2019-10-24T08:25:46.302" v="221"/>
        <pc:sldMkLst>
          <pc:docMk/>
          <pc:sldMk cId="4276589455" sldId="257"/>
        </pc:sldMkLst>
        <pc:spChg chg="mod">
          <ac:chgData name="Johannes Noebauer" userId="39108b66-f5c8-4bb2-a15e-ac2c32f4bec6" providerId="ADAL" clId="{D6CEAED3-18D2-4C91-9DFE-B960A0A28939}" dt="2019-10-23T19:45:32.690" v="174" actId="20577"/>
          <ac:spMkLst>
            <pc:docMk/>
            <pc:sldMk cId="4276589455" sldId="257"/>
            <ac:spMk id="2" creationId="{00000000-0000-0000-0000-000000000000}"/>
          </ac:spMkLst>
        </pc:spChg>
        <pc:spChg chg="add del">
          <ac:chgData name="Johannes Noebauer" userId="39108b66-f5c8-4bb2-a15e-ac2c32f4bec6" providerId="ADAL" clId="{D6CEAED3-18D2-4C91-9DFE-B960A0A28939}" dt="2019-10-23T19:14:44.048" v="87"/>
          <ac:spMkLst>
            <pc:docMk/>
            <pc:sldMk cId="4276589455" sldId="257"/>
            <ac:spMk id="3" creationId="{19B85976-678D-471F-851C-4113778BEFD4}"/>
          </ac:spMkLst>
        </pc:spChg>
        <pc:spChg chg="del">
          <ac:chgData name="Johannes Noebauer" userId="39108b66-f5c8-4bb2-a15e-ac2c32f4bec6" providerId="ADAL" clId="{D6CEAED3-18D2-4C91-9DFE-B960A0A28939}" dt="2019-10-23T19:43:12.232" v="141" actId="478"/>
          <ac:spMkLst>
            <pc:docMk/>
            <pc:sldMk cId="4276589455" sldId="257"/>
            <ac:spMk id="4" creationId="{00000000-0000-0000-0000-000000000000}"/>
          </ac:spMkLst>
        </pc:spChg>
        <pc:spChg chg="add del mod">
          <ac:chgData name="Johannes Noebauer" userId="39108b66-f5c8-4bb2-a15e-ac2c32f4bec6" providerId="ADAL" clId="{D6CEAED3-18D2-4C91-9DFE-B960A0A28939}" dt="2019-10-23T19:43:14.551" v="142"/>
          <ac:spMkLst>
            <pc:docMk/>
            <pc:sldMk cId="4276589455" sldId="257"/>
            <ac:spMk id="6" creationId="{36C98BC0-5419-4C8B-B45F-CF4FCDECE8D4}"/>
          </ac:spMkLst>
        </pc:spChg>
        <pc:spChg chg="add mod">
          <ac:chgData name="Johannes Noebauer" userId="39108b66-f5c8-4bb2-a15e-ac2c32f4bec6" providerId="ADAL" clId="{D6CEAED3-18D2-4C91-9DFE-B960A0A28939}" dt="2019-10-24T06:55:56.060" v="217" actId="27636"/>
          <ac:spMkLst>
            <pc:docMk/>
            <pc:sldMk cId="4276589455" sldId="257"/>
            <ac:spMk id="7" creationId="{CF1E02DA-EEF0-4931-AC1B-BA23DCC4C204}"/>
          </ac:spMkLst>
        </pc:spChg>
      </pc:sldChg>
      <pc:sldChg chg="addSp delSp modSp modTransition">
        <pc:chgData name="Johannes Noebauer" userId="39108b66-f5c8-4bb2-a15e-ac2c32f4bec6" providerId="ADAL" clId="{D6CEAED3-18D2-4C91-9DFE-B960A0A28939}" dt="2019-10-24T08:27:16.860" v="238" actId="20577"/>
        <pc:sldMkLst>
          <pc:docMk/>
          <pc:sldMk cId="3345991704" sldId="268"/>
        </pc:sldMkLst>
        <pc:spChg chg="add del mod">
          <ac:chgData name="Johannes Noebauer" userId="39108b66-f5c8-4bb2-a15e-ac2c32f4bec6" providerId="ADAL" clId="{D6CEAED3-18D2-4C91-9DFE-B960A0A28939}" dt="2019-10-23T19:09:07.185" v="13"/>
          <ac:spMkLst>
            <pc:docMk/>
            <pc:sldMk cId="3345991704" sldId="268"/>
            <ac:spMk id="2" creationId="{2B896FE9-D754-4B33-A0FF-7D1E37DBF44F}"/>
          </ac:spMkLst>
        </pc:spChg>
        <pc:spChg chg="add del mod">
          <ac:chgData name="Johannes Noebauer" userId="39108b66-f5c8-4bb2-a15e-ac2c32f4bec6" providerId="ADAL" clId="{D6CEAED3-18D2-4C91-9DFE-B960A0A28939}" dt="2019-10-23T19:09:07.185" v="13"/>
          <ac:spMkLst>
            <pc:docMk/>
            <pc:sldMk cId="3345991704" sldId="268"/>
            <ac:spMk id="3" creationId="{165318D6-9099-4EB4-AB52-082A60E66296}"/>
          </ac:spMkLst>
        </pc:spChg>
        <pc:spChg chg="add del mod">
          <ac:chgData name="Johannes Noebauer" userId="39108b66-f5c8-4bb2-a15e-ac2c32f4bec6" providerId="ADAL" clId="{D6CEAED3-18D2-4C91-9DFE-B960A0A28939}" dt="2019-10-23T19:09:07.185" v="13"/>
          <ac:spMkLst>
            <pc:docMk/>
            <pc:sldMk cId="3345991704" sldId="268"/>
            <ac:spMk id="6" creationId="{91C35B54-2C95-42CA-B485-0A64460E1AEB}"/>
          </ac:spMkLst>
        </pc:spChg>
        <pc:spChg chg="add mod">
          <ac:chgData name="Johannes Noebauer" userId="39108b66-f5c8-4bb2-a15e-ac2c32f4bec6" providerId="ADAL" clId="{D6CEAED3-18D2-4C91-9DFE-B960A0A28939}" dt="2019-10-24T08:27:16.860" v="238" actId="20577"/>
          <ac:spMkLst>
            <pc:docMk/>
            <pc:sldMk cId="3345991704" sldId="268"/>
            <ac:spMk id="7" creationId="{5BD9D47D-EA6A-4116-9B4D-C5B010D16393}"/>
          </ac:spMkLst>
        </pc:spChg>
        <pc:spChg chg="add mod">
          <ac:chgData name="Johannes Noebauer" userId="39108b66-f5c8-4bb2-a15e-ac2c32f4bec6" providerId="ADAL" clId="{D6CEAED3-18D2-4C91-9DFE-B960A0A28939}" dt="2019-10-23T19:09:13.250" v="14"/>
          <ac:spMkLst>
            <pc:docMk/>
            <pc:sldMk cId="3345991704" sldId="268"/>
            <ac:spMk id="8" creationId="{80B32A7A-06CC-4246-BCE1-1269B94D9FA4}"/>
          </ac:spMkLst>
        </pc:spChg>
        <pc:spChg chg="add del mod">
          <ac:chgData name="Johannes Noebauer" userId="39108b66-f5c8-4bb2-a15e-ac2c32f4bec6" providerId="ADAL" clId="{D6CEAED3-18D2-4C91-9DFE-B960A0A28939}" dt="2019-10-23T19:22:09.689" v="112" actId="478"/>
          <ac:spMkLst>
            <pc:docMk/>
            <pc:sldMk cId="3345991704" sldId="268"/>
            <ac:spMk id="9" creationId="{3E64E489-DE74-4934-8F08-1C0F66DC1B64}"/>
          </ac:spMkLst>
        </pc:spChg>
        <pc:graphicFrameChg chg="mod">
          <ac:chgData name="Johannes Noebauer" userId="39108b66-f5c8-4bb2-a15e-ac2c32f4bec6" providerId="ADAL" clId="{D6CEAED3-18D2-4C91-9DFE-B960A0A28939}" dt="2019-10-23T19:09:53.829" v="21" actId="207"/>
          <ac:graphicFrameMkLst>
            <pc:docMk/>
            <pc:sldMk cId="3345991704" sldId="268"/>
            <ac:graphicFrameMk id="4" creationId="{00000000-0000-0000-0000-000000000000}"/>
          </ac:graphicFrameMkLst>
        </pc:graphicFrameChg>
      </pc:sldChg>
      <pc:sldChg chg="addSp delSp modSp modTransition">
        <pc:chgData name="Johannes Noebauer" userId="39108b66-f5c8-4bb2-a15e-ac2c32f4bec6" providerId="ADAL" clId="{D6CEAED3-18D2-4C91-9DFE-B960A0A28939}" dt="2019-10-23T19:22:42.861" v="116" actId="478"/>
        <pc:sldMkLst>
          <pc:docMk/>
          <pc:sldMk cId="970043146" sldId="269"/>
        </pc:sldMkLst>
        <pc:spChg chg="add mod">
          <ac:chgData name="Johannes Noebauer" userId="39108b66-f5c8-4bb2-a15e-ac2c32f4bec6" providerId="ADAL" clId="{D6CEAED3-18D2-4C91-9DFE-B960A0A28939}" dt="2019-10-23T19:21:21.829" v="104"/>
          <ac:spMkLst>
            <pc:docMk/>
            <pc:sldMk cId="970043146" sldId="269"/>
            <ac:spMk id="2" creationId="{1FDF23D3-C675-4105-9C1D-668FEB0CB92D}"/>
          </ac:spMkLst>
        </pc:spChg>
        <pc:spChg chg="add mod">
          <ac:chgData name="Johannes Noebauer" userId="39108b66-f5c8-4bb2-a15e-ac2c32f4bec6" providerId="ADAL" clId="{D6CEAED3-18D2-4C91-9DFE-B960A0A28939}" dt="2019-10-23T19:09:21.073" v="15"/>
          <ac:spMkLst>
            <pc:docMk/>
            <pc:sldMk cId="970043146" sldId="269"/>
            <ac:spMk id="3" creationId="{DFF1C8F7-5FD7-4D4E-9475-BEBDA25B08D2}"/>
          </ac:spMkLst>
        </pc:spChg>
        <pc:spChg chg="add del mod">
          <ac:chgData name="Johannes Noebauer" userId="39108b66-f5c8-4bb2-a15e-ac2c32f4bec6" providerId="ADAL" clId="{D6CEAED3-18D2-4C91-9DFE-B960A0A28939}" dt="2019-10-23T19:22:42.861" v="116" actId="478"/>
          <ac:spMkLst>
            <pc:docMk/>
            <pc:sldMk cId="970043146" sldId="269"/>
            <ac:spMk id="6" creationId="{97FC696B-A1A6-4EAF-BCD7-2B0A97F47CE7}"/>
          </ac:spMkLst>
        </pc:spChg>
        <pc:graphicFrameChg chg="mod">
          <ac:chgData name="Johannes Noebauer" userId="39108b66-f5c8-4bb2-a15e-ac2c32f4bec6" providerId="ADAL" clId="{D6CEAED3-18D2-4C91-9DFE-B960A0A28939}" dt="2019-10-23T19:09:37.601" v="18" actId="207"/>
          <ac:graphicFrameMkLst>
            <pc:docMk/>
            <pc:sldMk cId="970043146" sldId="269"/>
            <ac:graphicFrameMk id="4" creationId="{00000000-0000-0000-0000-000000000000}"/>
          </ac:graphicFrameMkLst>
        </pc:graphicFrameChg>
      </pc:sldChg>
      <pc:sldChg chg="modSp">
        <pc:chgData name="Johannes Noebauer" userId="39108b66-f5c8-4bb2-a15e-ac2c32f4bec6" providerId="ADAL" clId="{D6CEAED3-18D2-4C91-9DFE-B960A0A28939}" dt="2019-10-23T19:08:28.301" v="9" actId="207"/>
        <pc:sldMkLst>
          <pc:docMk/>
          <pc:sldMk cId="1825208987" sldId="307"/>
        </pc:sldMkLst>
        <pc:spChg chg="mod">
          <ac:chgData name="Johannes Noebauer" userId="39108b66-f5c8-4bb2-a15e-ac2c32f4bec6" providerId="ADAL" clId="{D6CEAED3-18D2-4C91-9DFE-B960A0A28939}" dt="2019-10-23T19:08:28.301" v="9" actId="207"/>
          <ac:spMkLst>
            <pc:docMk/>
            <pc:sldMk cId="1825208987" sldId="307"/>
            <ac:spMk id="3" creationId="{9D2B5C38-2750-42E8-9E3D-474C270EEE53}"/>
          </ac:spMkLst>
        </pc:spChg>
      </pc:sldChg>
      <pc:sldChg chg="addSp delSp modSp modTransition">
        <pc:chgData name="Johannes Noebauer" userId="39108b66-f5c8-4bb2-a15e-ac2c32f4bec6" providerId="ADAL" clId="{D6CEAED3-18D2-4C91-9DFE-B960A0A28939}" dt="2019-10-23T19:22:00.734" v="110" actId="478"/>
        <pc:sldMkLst>
          <pc:docMk/>
          <pc:sldMk cId="1569422388" sldId="3871"/>
        </pc:sldMkLst>
        <pc:spChg chg="del">
          <ac:chgData name="Johannes Noebauer" userId="39108b66-f5c8-4bb2-a15e-ac2c32f4bec6" providerId="ADAL" clId="{D6CEAED3-18D2-4C91-9DFE-B960A0A28939}" dt="2019-10-23T19:11:29.582" v="41" actId="478"/>
          <ac:spMkLst>
            <pc:docMk/>
            <pc:sldMk cId="1569422388" sldId="3871"/>
            <ac:spMk id="3" creationId="{00000000-0000-0000-0000-000000000000}"/>
          </ac:spMkLst>
        </pc:spChg>
        <pc:spChg chg="mod">
          <ac:chgData name="Johannes Noebauer" userId="39108b66-f5c8-4bb2-a15e-ac2c32f4bec6" providerId="ADAL" clId="{D6CEAED3-18D2-4C91-9DFE-B960A0A28939}" dt="2019-10-23T19:11:31.530" v="45" actId="20577"/>
          <ac:spMkLst>
            <pc:docMk/>
            <pc:sldMk cId="1569422388" sldId="3871"/>
            <ac:spMk id="5" creationId="{C74C48FB-305A-410B-9F50-E2EA85CD8459}"/>
          </ac:spMkLst>
        </pc:spChg>
        <pc:spChg chg="add mod">
          <ac:chgData name="Johannes Noebauer" userId="39108b66-f5c8-4bb2-a15e-ac2c32f4bec6" providerId="ADAL" clId="{D6CEAED3-18D2-4C91-9DFE-B960A0A28939}" dt="2019-10-23T19:11:57.748" v="49" actId="12"/>
          <ac:spMkLst>
            <pc:docMk/>
            <pc:sldMk cId="1569422388" sldId="3871"/>
            <ac:spMk id="6" creationId="{2F6CC0B7-A6A5-45FE-82A9-D636D54AAFFA}"/>
          </ac:spMkLst>
        </pc:spChg>
        <pc:spChg chg="add del mod">
          <ac:chgData name="Johannes Noebauer" userId="39108b66-f5c8-4bb2-a15e-ac2c32f4bec6" providerId="ADAL" clId="{D6CEAED3-18D2-4C91-9DFE-B960A0A28939}" dt="2019-10-23T19:22:00.734" v="110" actId="478"/>
          <ac:spMkLst>
            <pc:docMk/>
            <pc:sldMk cId="1569422388" sldId="3871"/>
            <ac:spMk id="7" creationId="{3AEE4DB2-94B3-404E-A65C-D9B39AF9FE42}"/>
          </ac:spMkLst>
        </pc:spChg>
      </pc:sldChg>
      <pc:sldChg chg="delSp modSp ord modAnim">
        <pc:chgData name="Johannes Noebauer" userId="39108b66-f5c8-4bb2-a15e-ac2c32f4bec6" providerId="ADAL" clId="{D6CEAED3-18D2-4C91-9DFE-B960A0A28939}" dt="2019-10-24T12:27:09.588" v="243" actId="20577"/>
        <pc:sldMkLst>
          <pc:docMk/>
          <pc:sldMk cId="1392012473" sldId="3911"/>
        </pc:sldMkLst>
        <pc:spChg chg="del">
          <ac:chgData name="Johannes Noebauer" userId="39108b66-f5c8-4bb2-a15e-ac2c32f4bec6" providerId="ADAL" clId="{D6CEAED3-18D2-4C91-9DFE-B960A0A28939}" dt="2019-10-23T19:21:31.650" v="105" actId="478"/>
          <ac:spMkLst>
            <pc:docMk/>
            <pc:sldMk cId="1392012473" sldId="3911"/>
            <ac:spMk id="6" creationId="{68DCEECD-C5A6-4925-9F14-97A5E4BFDA81}"/>
          </ac:spMkLst>
        </pc:spChg>
        <pc:graphicFrameChg chg="mod">
          <ac:chgData name="Johannes Noebauer" userId="39108b66-f5c8-4bb2-a15e-ac2c32f4bec6" providerId="ADAL" clId="{D6CEAED3-18D2-4C91-9DFE-B960A0A28939}" dt="2019-10-24T12:27:09.588" v="243" actId="20577"/>
          <ac:graphicFrameMkLst>
            <pc:docMk/>
            <pc:sldMk cId="1392012473" sldId="3911"/>
            <ac:graphicFrameMk id="4" creationId="{00000000-0000-0000-0000-000000000000}"/>
          </ac:graphicFrameMkLst>
        </pc:graphicFrameChg>
      </pc:sldChg>
      <pc:sldChg chg="modSp add del ord">
        <pc:chgData name="Johannes Noebauer" userId="39108b66-f5c8-4bb2-a15e-ac2c32f4bec6" providerId="ADAL" clId="{D6CEAED3-18D2-4C91-9DFE-B960A0A28939}" dt="2019-10-24T08:25:44.512" v="219"/>
        <pc:sldMkLst>
          <pc:docMk/>
          <pc:sldMk cId="1133327194" sldId="3912"/>
        </pc:sldMkLst>
        <pc:spChg chg="mod">
          <ac:chgData name="Johannes Noebauer" userId="39108b66-f5c8-4bb2-a15e-ac2c32f4bec6" providerId="ADAL" clId="{D6CEAED3-18D2-4C91-9DFE-B960A0A28939}" dt="2019-10-23T21:44:17.450" v="176" actId="120"/>
          <ac:spMkLst>
            <pc:docMk/>
            <pc:sldMk cId="1133327194" sldId="3912"/>
            <ac:spMk id="6" creationId="{250F25B8-2F92-4426-927A-5EF60ECF11AB}"/>
          </ac:spMkLst>
        </pc:spChg>
      </pc:sldChg>
      <pc:sldChg chg="addSp delSp modSp modTransition">
        <pc:chgData name="Johannes Noebauer" userId="39108b66-f5c8-4bb2-a15e-ac2c32f4bec6" providerId="ADAL" clId="{D6CEAED3-18D2-4C91-9DFE-B960A0A28939}" dt="2019-10-23T19:22:05.784" v="111" actId="478"/>
        <pc:sldMkLst>
          <pc:docMk/>
          <pc:sldMk cId="2260026502" sldId="3929"/>
        </pc:sldMkLst>
        <pc:spChg chg="del mod">
          <ac:chgData name="Johannes Noebauer" userId="39108b66-f5c8-4bb2-a15e-ac2c32f4bec6" providerId="ADAL" clId="{D6CEAED3-18D2-4C91-9DFE-B960A0A28939}" dt="2019-10-23T19:10:49.435" v="34" actId="478"/>
          <ac:spMkLst>
            <pc:docMk/>
            <pc:sldMk cId="2260026502" sldId="3929"/>
            <ac:spMk id="2" creationId="{8A084680-F8F6-4244-A651-7293B7C3A3EA}"/>
          </ac:spMkLst>
        </pc:spChg>
        <pc:spChg chg="mod">
          <ac:chgData name="Johannes Noebauer" userId="39108b66-f5c8-4bb2-a15e-ac2c32f4bec6" providerId="ADAL" clId="{D6CEAED3-18D2-4C91-9DFE-B960A0A28939}" dt="2019-10-23T19:11:45.468" v="47" actId="113"/>
          <ac:spMkLst>
            <pc:docMk/>
            <pc:sldMk cId="2260026502" sldId="3929"/>
            <ac:spMk id="5" creationId="{349D54F1-FCC1-46F6-A5F2-155C1436D88C}"/>
          </ac:spMkLst>
        </pc:spChg>
        <pc:spChg chg="add mod">
          <ac:chgData name="Johannes Noebauer" userId="39108b66-f5c8-4bb2-a15e-ac2c32f4bec6" providerId="ADAL" clId="{D6CEAED3-18D2-4C91-9DFE-B960A0A28939}" dt="2019-10-23T19:11:09.766" v="37" actId="255"/>
          <ac:spMkLst>
            <pc:docMk/>
            <pc:sldMk cId="2260026502" sldId="3929"/>
            <ac:spMk id="6" creationId="{250947F3-CCDE-4DC8-B407-515CE3C449CB}"/>
          </ac:spMkLst>
        </pc:spChg>
        <pc:spChg chg="add del mod">
          <ac:chgData name="Johannes Noebauer" userId="39108b66-f5c8-4bb2-a15e-ac2c32f4bec6" providerId="ADAL" clId="{D6CEAED3-18D2-4C91-9DFE-B960A0A28939}" dt="2019-10-23T19:22:05.784" v="111" actId="478"/>
          <ac:spMkLst>
            <pc:docMk/>
            <pc:sldMk cId="2260026502" sldId="3929"/>
            <ac:spMk id="7" creationId="{FB420CE1-2FE5-426E-9DF2-F5B81E54901D}"/>
          </ac:spMkLst>
        </pc:spChg>
      </pc:sldChg>
      <pc:sldChg chg="delSp">
        <pc:chgData name="Johannes Noebauer" userId="39108b66-f5c8-4bb2-a15e-ac2c32f4bec6" providerId="ADAL" clId="{D6CEAED3-18D2-4C91-9DFE-B960A0A28939}" dt="2019-10-23T19:21:49.002" v="108" actId="478"/>
        <pc:sldMkLst>
          <pc:docMk/>
          <pc:sldMk cId="3938534406" sldId="4135"/>
        </pc:sldMkLst>
        <pc:spChg chg="del">
          <ac:chgData name="Johannes Noebauer" userId="39108b66-f5c8-4bb2-a15e-ac2c32f4bec6" providerId="ADAL" clId="{D6CEAED3-18D2-4C91-9DFE-B960A0A28939}" dt="2019-10-23T19:21:49.002" v="108" actId="478"/>
          <ac:spMkLst>
            <pc:docMk/>
            <pc:sldMk cId="3938534406" sldId="4135"/>
            <ac:spMk id="5" creationId="{6B715FF8-CA7E-4FC4-940B-86C05B927D34}"/>
          </ac:spMkLst>
        </pc:spChg>
      </pc:sldChg>
      <pc:sldChg chg="delSp">
        <pc:chgData name="Johannes Noebauer" userId="39108b66-f5c8-4bb2-a15e-ac2c32f4bec6" providerId="ADAL" clId="{D6CEAED3-18D2-4C91-9DFE-B960A0A28939}" dt="2019-10-23T19:21:42.364" v="107" actId="478"/>
        <pc:sldMkLst>
          <pc:docMk/>
          <pc:sldMk cId="3105163887" sldId="4520"/>
        </pc:sldMkLst>
        <pc:spChg chg="del">
          <ac:chgData name="Johannes Noebauer" userId="39108b66-f5c8-4bb2-a15e-ac2c32f4bec6" providerId="ADAL" clId="{D6CEAED3-18D2-4C91-9DFE-B960A0A28939}" dt="2019-10-23T19:21:42.364" v="107" actId="478"/>
          <ac:spMkLst>
            <pc:docMk/>
            <pc:sldMk cId="3105163887" sldId="4520"/>
            <ac:spMk id="15" creationId="{A80230D4-ED88-40D7-B5B3-447E2A0601E5}"/>
          </ac:spMkLst>
        </pc:spChg>
      </pc:sldChg>
      <pc:sldChg chg="modSp">
        <pc:chgData name="Johannes Noebauer" userId="39108b66-f5c8-4bb2-a15e-ac2c32f4bec6" providerId="ADAL" clId="{D6CEAED3-18D2-4C91-9DFE-B960A0A28939}" dt="2019-10-23T19:08:35.093" v="10" actId="207"/>
        <pc:sldMkLst>
          <pc:docMk/>
          <pc:sldMk cId="3856925176" sldId="10014"/>
        </pc:sldMkLst>
        <pc:spChg chg="mod">
          <ac:chgData name="Johannes Noebauer" userId="39108b66-f5c8-4bb2-a15e-ac2c32f4bec6" providerId="ADAL" clId="{D6CEAED3-18D2-4C91-9DFE-B960A0A28939}" dt="2019-10-23T19:08:35.093" v="10" actId="207"/>
          <ac:spMkLst>
            <pc:docMk/>
            <pc:sldMk cId="3856925176" sldId="10014"/>
            <ac:spMk id="9" creationId="{E5F4E7B5-00AE-4A08-A35A-560DB82B7BBB}"/>
          </ac:spMkLst>
        </pc:spChg>
      </pc:sldChg>
      <pc:sldChg chg="addSp delSp modSp">
        <pc:chgData name="Johannes Noebauer" userId="39108b66-f5c8-4bb2-a15e-ac2c32f4bec6" providerId="ADAL" clId="{D6CEAED3-18D2-4C91-9DFE-B960A0A28939}" dt="2019-10-23T19:21:57.768" v="109" actId="478"/>
        <pc:sldMkLst>
          <pc:docMk/>
          <pc:sldMk cId="2803093148" sldId="10041"/>
        </pc:sldMkLst>
        <pc:spChg chg="del">
          <ac:chgData name="Johannes Noebauer" userId="39108b66-f5c8-4bb2-a15e-ac2c32f4bec6" providerId="ADAL" clId="{D6CEAED3-18D2-4C91-9DFE-B960A0A28939}" dt="2019-10-23T19:21:57.768" v="109" actId="478"/>
          <ac:spMkLst>
            <pc:docMk/>
            <pc:sldMk cId="2803093148" sldId="10041"/>
            <ac:spMk id="5" creationId="{0A81AFC8-D863-4DB5-9F85-386F2464851A}"/>
          </ac:spMkLst>
        </pc:spChg>
        <pc:spChg chg="mod">
          <ac:chgData name="Johannes Noebauer" userId="39108b66-f5c8-4bb2-a15e-ac2c32f4bec6" providerId="ADAL" clId="{D6CEAED3-18D2-4C91-9DFE-B960A0A28939}" dt="2019-10-23T19:08:52.011" v="11" actId="208"/>
          <ac:spMkLst>
            <pc:docMk/>
            <pc:sldMk cId="2803093148" sldId="10041"/>
            <ac:spMk id="13" creationId="{B3C7C934-08BA-46A8-AC5C-D7B3A6AC9DDE}"/>
          </ac:spMkLst>
        </pc:spChg>
        <pc:grpChg chg="add mod">
          <ac:chgData name="Johannes Noebauer" userId="39108b66-f5c8-4bb2-a15e-ac2c32f4bec6" providerId="ADAL" clId="{D6CEAED3-18D2-4C91-9DFE-B960A0A28939}" dt="2019-10-23T19:17:22.735" v="92" actId="1076"/>
          <ac:grpSpMkLst>
            <pc:docMk/>
            <pc:sldMk cId="2803093148" sldId="10041"/>
            <ac:grpSpMk id="8" creationId="{1AD5AC3B-9954-451A-927A-7BEDC982168E}"/>
          </ac:grpSpMkLst>
        </pc:grpChg>
        <pc:picChg chg="add">
          <ac:chgData name="Johannes Noebauer" userId="39108b66-f5c8-4bb2-a15e-ac2c32f4bec6" providerId="ADAL" clId="{D6CEAED3-18D2-4C91-9DFE-B960A0A28939}" dt="2019-10-23T19:17:18.675" v="91"/>
          <ac:picMkLst>
            <pc:docMk/>
            <pc:sldMk cId="2803093148" sldId="10041"/>
            <ac:picMk id="9" creationId="{FFD93F2E-55EA-48ED-B7ED-372CAA8B1469}"/>
          </ac:picMkLst>
        </pc:picChg>
        <pc:picChg chg="add">
          <ac:chgData name="Johannes Noebauer" userId="39108b66-f5c8-4bb2-a15e-ac2c32f4bec6" providerId="ADAL" clId="{D6CEAED3-18D2-4C91-9DFE-B960A0A28939}" dt="2019-10-23T19:17:18.675" v="91"/>
          <ac:picMkLst>
            <pc:docMk/>
            <pc:sldMk cId="2803093148" sldId="10041"/>
            <ac:picMk id="10" creationId="{E2B721B9-8AC3-4EED-9CC8-4E2691918C12}"/>
          </ac:picMkLst>
        </pc:picChg>
        <pc:picChg chg="add">
          <ac:chgData name="Johannes Noebauer" userId="39108b66-f5c8-4bb2-a15e-ac2c32f4bec6" providerId="ADAL" clId="{D6CEAED3-18D2-4C91-9DFE-B960A0A28939}" dt="2019-10-23T19:17:18.675" v="91"/>
          <ac:picMkLst>
            <pc:docMk/>
            <pc:sldMk cId="2803093148" sldId="10041"/>
            <ac:picMk id="11" creationId="{9A229B84-81A5-47A9-91AF-D24C8E7DAE4C}"/>
          </ac:picMkLst>
        </pc:picChg>
        <pc:picChg chg="add">
          <ac:chgData name="Johannes Noebauer" userId="39108b66-f5c8-4bb2-a15e-ac2c32f4bec6" providerId="ADAL" clId="{D6CEAED3-18D2-4C91-9DFE-B960A0A28939}" dt="2019-10-23T19:17:18.675" v="91"/>
          <ac:picMkLst>
            <pc:docMk/>
            <pc:sldMk cId="2803093148" sldId="10041"/>
            <ac:picMk id="12" creationId="{B0B64E64-FE23-4D9C-A237-BA185E1B8812}"/>
          </ac:picMkLst>
        </pc:picChg>
        <pc:picChg chg="del">
          <ac:chgData name="Johannes Noebauer" userId="39108b66-f5c8-4bb2-a15e-ac2c32f4bec6" providerId="ADAL" clId="{D6CEAED3-18D2-4C91-9DFE-B960A0A28939}" dt="2019-10-23T19:17:17.931" v="90" actId="478"/>
          <ac:picMkLst>
            <pc:docMk/>
            <pc:sldMk cId="2803093148" sldId="10041"/>
            <ac:picMk id="20" creationId="{9A229B84-81A5-47A9-91AF-D24C8E7DAE4C}"/>
          </ac:picMkLst>
        </pc:picChg>
      </pc:sldChg>
      <pc:sldChg chg="delSp">
        <pc:chgData name="Johannes Noebauer" userId="39108b66-f5c8-4bb2-a15e-ac2c32f4bec6" providerId="ADAL" clId="{D6CEAED3-18D2-4C91-9DFE-B960A0A28939}" dt="2019-10-23T19:23:36.559" v="117" actId="478"/>
        <pc:sldMkLst>
          <pc:docMk/>
          <pc:sldMk cId="4014804894" sldId="10088"/>
        </pc:sldMkLst>
        <pc:spChg chg="del">
          <ac:chgData name="Johannes Noebauer" userId="39108b66-f5c8-4bb2-a15e-ac2c32f4bec6" providerId="ADAL" clId="{D6CEAED3-18D2-4C91-9DFE-B960A0A28939}" dt="2019-10-23T19:23:36.559" v="117" actId="478"/>
          <ac:spMkLst>
            <pc:docMk/>
            <pc:sldMk cId="4014804894" sldId="10088"/>
            <ac:spMk id="5" creationId="{065668FA-96FC-464D-B152-8E9E3922A59B}"/>
          </ac:spMkLst>
        </pc:spChg>
      </pc:sldChg>
      <pc:sldChg chg="modSp">
        <pc:chgData name="Johannes Noebauer" userId="39108b66-f5c8-4bb2-a15e-ac2c32f4bec6" providerId="ADAL" clId="{D6CEAED3-18D2-4C91-9DFE-B960A0A28939}" dt="2019-10-23T19:22:17.167" v="113" actId="208"/>
        <pc:sldMkLst>
          <pc:docMk/>
          <pc:sldMk cId="630530803" sldId="10089"/>
        </pc:sldMkLst>
        <pc:cxnChg chg="mod">
          <ac:chgData name="Johannes Noebauer" userId="39108b66-f5c8-4bb2-a15e-ac2c32f4bec6" providerId="ADAL" clId="{D6CEAED3-18D2-4C91-9DFE-B960A0A28939}" dt="2019-10-23T19:22:17.167" v="113" actId="208"/>
          <ac:cxnSpMkLst>
            <pc:docMk/>
            <pc:sldMk cId="630530803" sldId="10089"/>
            <ac:cxnSpMk id="38" creationId="{FFC4D8ED-E985-4471-AE46-76B40D01D5CA}"/>
          </ac:cxnSpMkLst>
        </pc:cxnChg>
      </pc:sldChg>
      <pc:sldChg chg="delSp modSp">
        <pc:chgData name="Johannes Noebauer" userId="39108b66-f5c8-4bb2-a15e-ac2c32f4bec6" providerId="ADAL" clId="{D6CEAED3-18D2-4C91-9DFE-B960A0A28939}" dt="2019-10-23T21:50:23.295" v="180" actId="1076"/>
        <pc:sldMkLst>
          <pc:docMk/>
          <pc:sldMk cId="3215447015" sldId="10090"/>
        </pc:sldMkLst>
        <pc:spChg chg="mod">
          <ac:chgData name="Johannes Noebauer" userId="39108b66-f5c8-4bb2-a15e-ac2c32f4bec6" providerId="ADAL" clId="{D6CEAED3-18D2-4C91-9DFE-B960A0A28939}" dt="2019-10-23T21:50:01.662" v="177" actId="1076"/>
          <ac:spMkLst>
            <pc:docMk/>
            <pc:sldMk cId="3215447015" sldId="10090"/>
            <ac:spMk id="4" creationId="{2D9B33D5-9A70-4816-A52D-925E679D2EB1}"/>
          </ac:spMkLst>
        </pc:spChg>
        <pc:spChg chg="mod">
          <ac:chgData name="Johannes Noebauer" userId="39108b66-f5c8-4bb2-a15e-ac2c32f4bec6" providerId="ADAL" clId="{D6CEAED3-18D2-4C91-9DFE-B960A0A28939}" dt="2019-10-23T21:50:23.295" v="180" actId="1076"/>
          <ac:spMkLst>
            <pc:docMk/>
            <pc:sldMk cId="3215447015" sldId="10090"/>
            <ac:spMk id="5" creationId="{61DCD0FD-CF4E-46CF-A184-678C4C5D4513}"/>
          </ac:spMkLst>
        </pc:spChg>
        <pc:spChg chg="mod">
          <ac:chgData name="Johannes Noebauer" userId="39108b66-f5c8-4bb2-a15e-ac2c32f4bec6" providerId="ADAL" clId="{D6CEAED3-18D2-4C91-9DFE-B960A0A28939}" dt="2019-10-23T19:22:34.353" v="115" actId="207"/>
          <ac:spMkLst>
            <pc:docMk/>
            <pc:sldMk cId="3215447015" sldId="10090"/>
            <ac:spMk id="6" creationId="{30E4CA43-CD94-41C3-B377-A965944D7E2D}"/>
          </ac:spMkLst>
        </pc:spChg>
        <pc:spChg chg="del">
          <ac:chgData name="Johannes Noebauer" userId="39108b66-f5c8-4bb2-a15e-ac2c32f4bec6" providerId="ADAL" clId="{D6CEAED3-18D2-4C91-9DFE-B960A0A28939}" dt="2019-10-23T19:22:25.393" v="114" actId="478"/>
          <ac:spMkLst>
            <pc:docMk/>
            <pc:sldMk cId="3215447015" sldId="10090"/>
            <ac:spMk id="10" creationId="{D7FB9603-F732-4DD0-8308-42CBBFC766AD}"/>
          </ac:spMkLst>
        </pc:spChg>
      </pc:sldChg>
      <pc:sldChg chg="delSp">
        <pc:chgData name="Johannes Noebauer" userId="39108b66-f5c8-4bb2-a15e-ac2c32f4bec6" providerId="ADAL" clId="{D6CEAED3-18D2-4C91-9DFE-B960A0A28939}" dt="2019-10-23T19:21:38.276" v="106" actId="478"/>
        <pc:sldMkLst>
          <pc:docMk/>
          <pc:sldMk cId="2154291218" sldId="10092"/>
        </pc:sldMkLst>
        <pc:spChg chg="del">
          <ac:chgData name="Johannes Noebauer" userId="39108b66-f5c8-4bb2-a15e-ac2c32f4bec6" providerId="ADAL" clId="{D6CEAED3-18D2-4C91-9DFE-B960A0A28939}" dt="2019-10-23T19:21:38.276" v="106" actId="478"/>
          <ac:spMkLst>
            <pc:docMk/>
            <pc:sldMk cId="2154291218" sldId="10092"/>
            <ac:spMk id="5" creationId="{1DC83510-33ED-444D-8A04-6E60EF5CE49D}"/>
          </ac:spMkLst>
        </pc:spChg>
      </pc:sldChg>
      <pc:sldChg chg="addSp modSp">
        <pc:chgData name="Johannes Noebauer" userId="39108b66-f5c8-4bb2-a15e-ac2c32f4bec6" providerId="ADAL" clId="{D6CEAED3-18D2-4C91-9DFE-B960A0A28939}" dt="2019-10-23T19:19:37.138" v="102" actId="5793"/>
        <pc:sldMkLst>
          <pc:docMk/>
          <pc:sldMk cId="952573239" sldId="10093"/>
        </pc:sldMkLst>
        <pc:spChg chg="mod">
          <ac:chgData name="Johannes Noebauer" userId="39108b66-f5c8-4bb2-a15e-ac2c32f4bec6" providerId="ADAL" clId="{D6CEAED3-18D2-4C91-9DFE-B960A0A28939}" dt="2019-10-23T19:19:27.480" v="95" actId="1076"/>
          <ac:spMkLst>
            <pc:docMk/>
            <pc:sldMk cId="952573239" sldId="10093"/>
            <ac:spMk id="5" creationId="{B172AFBC-7DDF-4F94-9A68-CA1BCFA0C052}"/>
          </ac:spMkLst>
        </pc:spChg>
        <pc:spChg chg="add mod">
          <ac:chgData name="Johannes Noebauer" userId="39108b66-f5c8-4bb2-a15e-ac2c32f4bec6" providerId="ADAL" clId="{D6CEAED3-18D2-4C91-9DFE-B960A0A28939}" dt="2019-10-23T19:19:37.138" v="102" actId="5793"/>
          <ac:spMkLst>
            <pc:docMk/>
            <pc:sldMk cId="952573239" sldId="10093"/>
            <ac:spMk id="6" creationId="{C3A93661-DA2A-4BF0-B3CA-E339F21ACCEC}"/>
          </ac:spMkLst>
        </pc:spChg>
      </pc:sldChg>
      <pc:sldChg chg="addSp modSp">
        <pc:chgData name="Johannes Noebauer" userId="39108b66-f5c8-4bb2-a15e-ac2c32f4bec6" providerId="ADAL" clId="{D6CEAED3-18D2-4C91-9DFE-B960A0A28939}" dt="2019-10-23T19:13:48.126" v="85" actId="1076"/>
        <pc:sldMkLst>
          <pc:docMk/>
          <pc:sldMk cId="241600226" sldId="10096"/>
        </pc:sldMkLst>
        <pc:spChg chg="add mod">
          <ac:chgData name="Johannes Noebauer" userId="39108b66-f5c8-4bb2-a15e-ac2c32f4bec6" providerId="ADAL" clId="{D6CEAED3-18D2-4C91-9DFE-B960A0A28939}" dt="2019-10-23T19:12:54.542" v="51" actId="1076"/>
          <ac:spMkLst>
            <pc:docMk/>
            <pc:sldMk cId="241600226" sldId="10096"/>
            <ac:spMk id="2" creationId="{7B8C2702-14B6-4F19-9D9C-B761D8DDE27E}"/>
          </ac:spMkLst>
        </pc:spChg>
        <pc:spChg chg="add mod">
          <ac:chgData name="Johannes Noebauer" userId="39108b66-f5c8-4bb2-a15e-ac2c32f4bec6" providerId="ADAL" clId="{D6CEAED3-18D2-4C91-9DFE-B960A0A28939}" dt="2019-10-23T19:13:48.126" v="85" actId="1076"/>
          <ac:spMkLst>
            <pc:docMk/>
            <pc:sldMk cId="241600226" sldId="10096"/>
            <ac:spMk id="3" creationId="{4DD233F2-3E6C-450A-BCDC-1D6C4C8148DE}"/>
          </ac:spMkLst>
        </pc:spChg>
      </pc:sldChg>
      <pc:sldChg chg="add del">
        <pc:chgData name="Johannes Noebauer" userId="39108b66-f5c8-4bb2-a15e-ac2c32f4bec6" providerId="ADAL" clId="{D6CEAED3-18D2-4C91-9DFE-B960A0A28939}" dt="2019-10-24T09:25:48.181" v="240" actId="47"/>
        <pc:sldMkLst>
          <pc:docMk/>
          <pc:sldMk cId="2623426485" sldId="10097"/>
        </pc:sldMkLst>
      </pc:sldChg>
      <pc:sldMasterChg chg="delSldLayout">
        <pc:chgData name="Johannes Noebauer" userId="39108b66-f5c8-4bb2-a15e-ac2c32f4bec6" providerId="ADAL" clId="{D6CEAED3-18D2-4C91-9DFE-B960A0A28939}" dt="2019-10-23T19:42:29.142" v="140" actId="47"/>
        <pc:sldMasterMkLst>
          <pc:docMk/>
          <pc:sldMasterMk cId="3958237721" sldId="2147483648"/>
        </pc:sldMasterMkLst>
        <pc:sldLayoutChg chg="del">
          <pc:chgData name="Johannes Noebauer" userId="39108b66-f5c8-4bb2-a15e-ac2c32f4bec6" providerId="ADAL" clId="{D6CEAED3-18D2-4C91-9DFE-B960A0A28939}" dt="2019-10-23T19:42:29.142" v="140" actId="47"/>
          <pc:sldLayoutMkLst>
            <pc:docMk/>
            <pc:sldMasterMk cId="3958237721" sldId="2147483648"/>
            <pc:sldLayoutMk cId="4169541799" sldId="2147483737"/>
          </pc:sldLayoutMkLst>
        </pc:sldLayoutChg>
      </pc:sldMasterChg>
    </pc:docChg>
  </pc:docChgLst>
</pc:chgInfo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de-de/azure/virtual-desktop/overview" TargetMode="External"/><Relationship Id="rId2" Type="http://schemas.openxmlformats.org/officeDocument/2006/relationships/hyperlink" Target="https://docs.microsoft.com/en-us/azure/virtual-desktop/" TargetMode="External"/><Relationship Id="rId1" Type="http://schemas.openxmlformats.org/officeDocument/2006/relationships/hyperlink" Target="https://techcommunity.microsoft.com/t5/Windows-IT-Pro-Blog/Getting-started-with-Windows-Virtual-Desktop/ba-p/391054" TargetMode="External"/><Relationship Id="rId5" Type="http://schemas.openxmlformats.org/officeDocument/2006/relationships/hyperlink" Target="https://azure.microsoft.com/en-us/pricing/details/virtual-desktop/" TargetMode="External"/><Relationship Id="rId4" Type="http://schemas.openxmlformats.org/officeDocument/2006/relationships/hyperlink" Target="https://azure.microsoft.com/de-de/pricing/details/virtual-desktop/" TargetMode="External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de-de/azure/virtual-desktop/overview" TargetMode="External"/><Relationship Id="rId2" Type="http://schemas.openxmlformats.org/officeDocument/2006/relationships/hyperlink" Target="https://docs.microsoft.com/en-us/azure/virtual-desktop/" TargetMode="External"/><Relationship Id="rId1" Type="http://schemas.openxmlformats.org/officeDocument/2006/relationships/hyperlink" Target="https://techcommunity.microsoft.com/t5/Windows-IT-Pro-Blog/Getting-started-with-Windows-Virtual-Desktop/ba-p/391054" TargetMode="External"/><Relationship Id="rId5" Type="http://schemas.openxmlformats.org/officeDocument/2006/relationships/hyperlink" Target="https://azure.microsoft.com/en-us/pricing/details/virtual-desktop/" TargetMode="External"/><Relationship Id="rId4" Type="http://schemas.openxmlformats.org/officeDocument/2006/relationships/hyperlink" Target="https://azure.microsoft.com/de-de/pricing/details/virtual-desktop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637160-2CCA-44F5-BBC6-0EC5BB56EB4D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AT"/>
        </a:p>
      </dgm:t>
    </dgm:pt>
    <dgm:pt modelId="{DA26035F-A027-481D-8CA3-ABA99F90AB7B}">
      <dgm:prSet/>
      <dgm:spPr>
        <a:solidFill>
          <a:srgbClr val="C00000"/>
        </a:solidFill>
      </dgm:spPr>
      <dgm:t>
        <a:bodyPr/>
        <a:lstStyle/>
        <a:p>
          <a:pPr rtl="0"/>
          <a:r>
            <a:rPr lang="de-AT" baseline="0" dirty="0"/>
            <a:t>Ich möchte den modernen Arbeitsplatz auch virtuell nutzen können</a:t>
          </a:r>
          <a:endParaRPr lang="de-AT" dirty="0"/>
        </a:p>
      </dgm:t>
    </dgm:pt>
    <dgm:pt modelId="{27D55EFE-8A07-45B8-917C-CEE0212A7AB3}" type="parTrans" cxnId="{B1959723-88A5-41B3-8B7D-368130BC8E95}">
      <dgm:prSet/>
      <dgm:spPr/>
      <dgm:t>
        <a:bodyPr/>
        <a:lstStyle/>
        <a:p>
          <a:endParaRPr lang="de-AT"/>
        </a:p>
      </dgm:t>
    </dgm:pt>
    <dgm:pt modelId="{B60FEB63-B0F0-4981-A229-7D595CCF228A}" type="sibTrans" cxnId="{B1959723-88A5-41B3-8B7D-368130BC8E95}">
      <dgm:prSet/>
      <dgm:spPr/>
      <dgm:t>
        <a:bodyPr/>
        <a:lstStyle/>
        <a:p>
          <a:endParaRPr lang="de-AT"/>
        </a:p>
      </dgm:t>
    </dgm:pt>
    <dgm:pt modelId="{90795AED-2725-44C7-8374-7F1CC2F3A421}">
      <dgm:prSet/>
      <dgm:spPr>
        <a:solidFill>
          <a:srgbClr val="C00000"/>
        </a:solidFill>
      </dgm:spPr>
      <dgm:t>
        <a:bodyPr/>
        <a:lstStyle/>
        <a:p>
          <a:pPr rtl="0"/>
          <a:r>
            <a:rPr lang="de-AT" baseline="0" dirty="0"/>
            <a:t>Ich benötige Flexibilität</a:t>
          </a:r>
          <a:endParaRPr lang="de-AT" dirty="0"/>
        </a:p>
      </dgm:t>
    </dgm:pt>
    <dgm:pt modelId="{2893E240-AB4F-4838-A24A-A5253148BEBA}" type="parTrans" cxnId="{1638E61E-9EB1-44DA-89AF-1AE5A65A27FD}">
      <dgm:prSet/>
      <dgm:spPr/>
      <dgm:t>
        <a:bodyPr/>
        <a:lstStyle/>
        <a:p>
          <a:endParaRPr lang="de-AT"/>
        </a:p>
      </dgm:t>
    </dgm:pt>
    <dgm:pt modelId="{D68DC693-6922-4359-B793-E61B8803EE68}" type="sibTrans" cxnId="{1638E61E-9EB1-44DA-89AF-1AE5A65A27FD}">
      <dgm:prSet/>
      <dgm:spPr/>
      <dgm:t>
        <a:bodyPr/>
        <a:lstStyle/>
        <a:p>
          <a:endParaRPr lang="de-AT"/>
        </a:p>
      </dgm:t>
    </dgm:pt>
    <dgm:pt modelId="{3DCDFAD9-B5B9-4E93-BC9F-08AEB1A2036D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de-AT" dirty="0"/>
            <a:t>Die Bereitstellung und Verwaltung der </a:t>
          </a:r>
          <a:r>
            <a:rPr lang="en-US" dirty="0" err="1"/>
            <a:t>Infrastruktur</a:t>
          </a:r>
          <a:r>
            <a:rPr lang="en-US" dirty="0"/>
            <a:t> </a:t>
          </a:r>
          <a:r>
            <a:rPr lang="de-AT" dirty="0"/>
            <a:t>für RDS ist aufwendig</a:t>
          </a:r>
        </a:p>
      </dgm:t>
    </dgm:pt>
    <dgm:pt modelId="{504AB9D3-36D7-409A-8BC3-B2995A136982}" type="parTrans" cxnId="{897EF40C-2759-47AD-816B-19B0B297D141}">
      <dgm:prSet/>
      <dgm:spPr/>
      <dgm:t>
        <a:bodyPr/>
        <a:lstStyle/>
        <a:p>
          <a:endParaRPr lang="de-AT"/>
        </a:p>
      </dgm:t>
    </dgm:pt>
    <dgm:pt modelId="{91BC90F0-514B-43F6-B285-F4A9B649B7D5}" type="sibTrans" cxnId="{897EF40C-2759-47AD-816B-19B0B297D141}">
      <dgm:prSet/>
      <dgm:spPr/>
      <dgm:t>
        <a:bodyPr/>
        <a:lstStyle/>
        <a:p>
          <a:endParaRPr lang="de-AT"/>
        </a:p>
      </dgm:t>
    </dgm:pt>
    <dgm:pt modelId="{EFC25C07-E95E-47E6-8417-FC76521D8880}" type="pres">
      <dgm:prSet presAssocID="{AD637160-2CCA-44F5-BBC6-0EC5BB56EB4D}" presName="linear" presStyleCnt="0">
        <dgm:presLayoutVars>
          <dgm:animLvl val="lvl"/>
          <dgm:resizeHandles val="exact"/>
        </dgm:presLayoutVars>
      </dgm:prSet>
      <dgm:spPr/>
    </dgm:pt>
    <dgm:pt modelId="{E2B63ED6-AE26-48F0-BA30-F9796045360C}" type="pres">
      <dgm:prSet presAssocID="{DA26035F-A027-481D-8CA3-ABA99F90AB7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1F0F09A-10B2-4C70-A624-82F276350652}" type="pres">
      <dgm:prSet presAssocID="{B60FEB63-B0F0-4981-A229-7D595CCF228A}" presName="spacer" presStyleCnt="0"/>
      <dgm:spPr/>
    </dgm:pt>
    <dgm:pt modelId="{C2647D63-24FA-4921-B3E9-E848D4F13B44}" type="pres">
      <dgm:prSet presAssocID="{90795AED-2725-44C7-8374-7F1CC2F3A42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901606D-2819-4A8E-89A5-24F6DD37E294}" type="pres">
      <dgm:prSet presAssocID="{D68DC693-6922-4359-B793-E61B8803EE68}" presName="spacer" presStyleCnt="0"/>
      <dgm:spPr/>
    </dgm:pt>
    <dgm:pt modelId="{8E51E51E-879C-4184-ADF6-594E34EAE2BC}" type="pres">
      <dgm:prSet presAssocID="{3DCDFAD9-B5B9-4E93-BC9F-08AEB1A2036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C312D204-9308-4711-ACD0-2DC4A287E01D}" type="presOf" srcId="{DA26035F-A027-481D-8CA3-ABA99F90AB7B}" destId="{E2B63ED6-AE26-48F0-BA30-F9796045360C}" srcOrd="0" destOrd="0" presId="urn:microsoft.com/office/officeart/2005/8/layout/vList2"/>
    <dgm:cxn modelId="{897EF40C-2759-47AD-816B-19B0B297D141}" srcId="{AD637160-2CCA-44F5-BBC6-0EC5BB56EB4D}" destId="{3DCDFAD9-B5B9-4E93-BC9F-08AEB1A2036D}" srcOrd="2" destOrd="0" parTransId="{504AB9D3-36D7-409A-8BC3-B2995A136982}" sibTransId="{91BC90F0-514B-43F6-B285-F4A9B649B7D5}"/>
    <dgm:cxn modelId="{1638E61E-9EB1-44DA-89AF-1AE5A65A27FD}" srcId="{AD637160-2CCA-44F5-BBC6-0EC5BB56EB4D}" destId="{90795AED-2725-44C7-8374-7F1CC2F3A421}" srcOrd="1" destOrd="0" parTransId="{2893E240-AB4F-4838-A24A-A5253148BEBA}" sibTransId="{D68DC693-6922-4359-B793-E61B8803EE68}"/>
    <dgm:cxn modelId="{B1959723-88A5-41B3-8B7D-368130BC8E95}" srcId="{AD637160-2CCA-44F5-BBC6-0EC5BB56EB4D}" destId="{DA26035F-A027-481D-8CA3-ABA99F90AB7B}" srcOrd="0" destOrd="0" parTransId="{27D55EFE-8A07-45B8-917C-CEE0212A7AB3}" sibTransId="{B60FEB63-B0F0-4981-A229-7D595CCF228A}"/>
    <dgm:cxn modelId="{44508D80-3BB2-4DED-9119-19AB778C968F}" type="presOf" srcId="{90795AED-2725-44C7-8374-7F1CC2F3A421}" destId="{C2647D63-24FA-4921-B3E9-E848D4F13B44}" srcOrd="0" destOrd="0" presId="urn:microsoft.com/office/officeart/2005/8/layout/vList2"/>
    <dgm:cxn modelId="{7EF629B9-86A3-4FFB-9ECF-44DC00606A8B}" type="presOf" srcId="{3DCDFAD9-B5B9-4E93-BC9F-08AEB1A2036D}" destId="{8E51E51E-879C-4184-ADF6-594E34EAE2BC}" srcOrd="0" destOrd="0" presId="urn:microsoft.com/office/officeart/2005/8/layout/vList2"/>
    <dgm:cxn modelId="{2B1DA9D8-4ED3-4B62-9E95-F8F533F4089C}" type="presOf" srcId="{AD637160-2CCA-44F5-BBC6-0EC5BB56EB4D}" destId="{EFC25C07-E95E-47E6-8417-FC76521D8880}" srcOrd="0" destOrd="0" presId="urn:microsoft.com/office/officeart/2005/8/layout/vList2"/>
    <dgm:cxn modelId="{244BEB4C-68B3-4866-891C-2924D674233E}" type="presParOf" srcId="{EFC25C07-E95E-47E6-8417-FC76521D8880}" destId="{E2B63ED6-AE26-48F0-BA30-F9796045360C}" srcOrd="0" destOrd="0" presId="urn:microsoft.com/office/officeart/2005/8/layout/vList2"/>
    <dgm:cxn modelId="{4F470D27-C61C-4EEB-B4BB-4BEFE593AF3F}" type="presParOf" srcId="{EFC25C07-E95E-47E6-8417-FC76521D8880}" destId="{31F0F09A-10B2-4C70-A624-82F276350652}" srcOrd="1" destOrd="0" presId="urn:microsoft.com/office/officeart/2005/8/layout/vList2"/>
    <dgm:cxn modelId="{F274CF23-5D36-48AB-8E07-588924BE58E1}" type="presParOf" srcId="{EFC25C07-E95E-47E6-8417-FC76521D8880}" destId="{C2647D63-24FA-4921-B3E9-E848D4F13B44}" srcOrd="2" destOrd="0" presId="urn:microsoft.com/office/officeart/2005/8/layout/vList2"/>
    <dgm:cxn modelId="{68DEC7CC-B32F-4092-8250-663EB989025F}" type="presParOf" srcId="{EFC25C07-E95E-47E6-8417-FC76521D8880}" destId="{5901606D-2819-4A8E-89A5-24F6DD37E294}" srcOrd="3" destOrd="0" presId="urn:microsoft.com/office/officeart/2005/8/layout/vList2"/>
    <dgm:cxn modelId="{83B4DDE0-FE7F-4564-B5D6-4068DA05A420}" type="presParOf" srcId="{EFC25C07-E95E-47E6-8417-FC76521D8880}" destId="{8E51E51E-879C-4184-ADF6-594E34EAE2B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D637160-2CCA-44F5-BBC6-0EC5BB56EB4D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AT"/>
        </a:p>
      </dgm:t>
    </dgm:pt>
    <dgm:pt modelId="{DA26035F-A027-481D-8CA3-ABA99F90AB7B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de-DE" sz="3200" baseline="0" noProof="0" dirty="0"/>
            <a:t>Ermöglicht</a:t>
          </a:r>
          <a:r>
            <a:rPr lang="en-US" sz="3200" baseline="0" dirty="0"/>
            <a:t> Windows 10 multi-session, </a:t>
          </a:r>
          <a:r>
            <a:rPr lang="de-DE" sz="3200" baseline="0" dirty="0"/>
            <a:t>optimiert für Office 365 ProPlus</a:t>
          </a:r>
          <a:endParaRPr lang="de-AT" sz="3200" dirty="0"/>
        </a:p>
      </dgm:t>
    </dgm:pt>
    <dgm:pt modelId="{27D55EFE-8A07-45B8-917C-CEE0212A7AB3}" type="parTrans" cxnId="{B1959723-88A5-41B3-8B7D-368130BC8E95}">
      <dgm:prSet/>
      <dgm:spPr/>
      <dgm:t>
        <a:bodyPr/>
        <a:lstStyle/>
        <a:p>
          <a:endParaRPr lang="de-AT"/>
        </a:p>
      </dgm:t>
    </dgm:pt>
    <dgm:pt modelId="{B60FEB63-B0F0-4981-A229-7D595CCF228A}" type="sibTrans" cxnId="{B1959723-88A5-41B3-8B7D-368130BC8E95}">
      <dgm:prSet/>
      <dgm:spPr/>
      <dgm:t>
        <a:bodyPr/>
        <a:lstStyle/>
        <a:p>
          <a:endParaRPr lang="de-AT"/>
        </a:p>
      </dgm:t>
    </dgm:pt>
    <dgm:pt modelId="{90795AED-2725-44C7-8374-7F1CC2F3A421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de-DE" sz="3200" dirty="0"/>
            <a:t>Flexibler Service, mit dem man sowohl Desktops als auch Apps virtualisieren kann</a:t>
          </a:r>
          <a:endParaRPr lang="de-AT" sz="3200" dirty="0"/>
        </a:p>
      </dgm:t>
    </dgm:pt>
    <dgm:pt modelId="{2893E240-AB4F-4838-A24A-A5253148BEBA}" type="parTrans" cxnId="{1638E61E-9EB1-44DA-89AF-1AE5A65A27FD}">
      <dgm:prSet/>
      <dgm:spPr/>
      <dgm:t>
        <a:bodyPr/>
        <a:lstStyle/>
        <a:p>
          <a:endParaRPr lang="de-AT"/>
        </a:p>
      </dgm:t>
    </dgm:pt>
    <dgm:pt modelId="{D68DC693-6922-4359-B793-E61B8803EE68}" type="sibTrans" cxnId="{1638E61E-9EB1-44DA-89AF-1AE5A65A27FD}">
      <dgm:prSet/>
      <dgm:spPr/>
      <dgm:t>
        <a:bodyPr/>
        <a:lstStyle/>
        <a:p>
          <a:endParaRPr lang="de-AT"/>
        </a:p>
      </dgm:t>
    </dgm:pt>
    <dgm:pt modelId="{3DCDFAD9-B5B9-4E93-BC9F-08AEB1A2036D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en-US" sz="3200" baseline="0" dirty="0"/>
            <a:t>Windows Server (2012R2 +)</a:t>
          </a:r>
          <a:r>
            <a:rPr lang="de-DE" sz="2800" baseline="0" noProof="0" dirty="0"/>
            <a:t>Unterstützung</a:t>
          </a:r>
          <a:endParaRPr lang="de-AT" sz="3100" dirty="0"/>
        </a:p>
      </dgm:t>
    </dgm:pt>
    <dgm:pt modelId="{504AB9D3-36D7-409A-8BC3-B2995A136982}" type="parTrans" cxnId="{897EF40C-2759-47AD-816B-19B0B297D141}">
      <dgm:prSet/>
      <dgm:spPr/>
      <dgm:t>
        <a:bodyPr/>
        <a:lstStyle/>
        <a:p>
          <a:endParaRPr lang="de-AT"/>
        </a:p>
      </dgm:t>
    </dgm:pt>
    <dgm:pt modelId="{91BC90F0-514B-43F6-B285-F4A9B649B7D5}" type="sibTrans" cxnId="{897EF40C-2759-47AD-816B-19B0B297D141}">
      <dgm:prSet/>
      <dgm:spPr/>
      <dgm:t>
        <a:bodyPr/>
        <a:lstStyle/>
        <a:p>
          <a:endParaRPr lang="de-AT"/>
        </a:p>
      </dgm:t>
    </dgm:pt>
    <dgm:pt modelId="{EFC25C07-E95E-47E6-8417-FC76521D8880}" type="pres">
      <dgm:prSet presAssocID="{AD637160-2CCA-44F5-BBC6-0EC5BB56EB4D}" presName="linear" presStyleCnt="0">
        <dgm:presLayoutVars>
          <dgm:animLvl val="lvl"/>
          <dgm:resizeHandles val="exact"/>
        </dgm:presLayoutVars>
      </dgm:prSet>
      <dgm:spPr/>
    </dgm:pt>
    <dgm:pt modelId="{E2B63ED6-AE26-48F0-BA30-F9796045360C}" type="pres">
      <dgm:prSet presAssocID="{DA26035F-A027-481D-8CA3-ABA99F90AB7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1F0F09A-10B2-4C70-A624-82F276350652}" type="pres">
      <dgm:prSet presAssocID="{B60FEB63-B0F0-4981-A229-7D595CCF228A}" presName="spacer" presStyleCnt="0"/>
      <dgm:spPr/>
    </dgm:pt>
    <dgm:pt modelId="{C2647D63-24FA-4921-B3E9-E848D4F13B44}" type="pres">
      <dgm:prSet presAssocID="{90795AED-2725-44C7-8374-7F1CC2F3A421}" presName="parentText" presStyleLbl="node1" presStyleIdx="1" presStyleCnt="3" custLinFactNeighborX="-1317">
        <dgm:presLayoutVars>
          <dgm:chMax val="0"/>
          <dgm:bulletEnabled val="1"/>
        </dgm:presLayoutVars>
      </dgm:prSet>
      <dgm:spPr/>
    </dgm:pt>
    <dgm:pt modelId="{5901606D-2819-4A8E-89A5-24F6DD37E294}" type="pres">
      <dgm:prSet presAssocID="{D68DC693-6922-4359-B793-E61B8803EE68}" presName="spacer" presStyleCnt="0"/>
      <dgm:spPr/>
    </dgm:pt>
    <dgm:pt modelId="{8E51E51E-879C-4184-ADF6-594E34EAE2BC}" type="pres">
      <dgm:prSet presAssocID="{3DCDFAD9-B5B9-4E93-BC9F-08AEB1A2036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6D15BD09-8862-4C2F-92FC-8F965CB20DEF}" type="presOf" srcId="{90795AED-2725-44C7-8374-7F1CC2F3A421}" destId="{C2647D63-24FA-4921-B3E9-E848D4F13B44}" srcOrd="0" destOrd="0" presId="urn:microsoft.com/office/officeart/2005/8/layout/vList2"/>
    <dgm:cxn modelId="{897EF40C-2759-47AD-816B-19B0B297D141}" srcId="{AD637160-2CCA-44F5-BBC6-0EC5BB56EB4D}" destId="{3DCDFAD9-B5B9-4E93-BC9F-08AEB1A2036D}" srcOrd="2" destOrd="0" parTransId="{504AB9D3-36D7-409A-8BC3-B2995A136982}" sibTransId="{91BC90F0-514B-43F6-B285-F4A9B649B7D5}"/>
    <dgm:cxn modelId="{1638E61E-9EB1-44DA-89AF-1AE5A65A27FD}" srcId="{AD637160-2CCA-44F5-BBC6-0EC5BB56EB4D}" destId="{90795AED-2725-44C7-8374-7F1CC2F3A421}" srcOrd="1" destOrd="0" parTransId="{2893E240-AB4F-4838-A24A-A5253148BEBA}" sibTransId="{D68DC693-6922-4359-B793-E61B8803EE68}"/>
    <dgm:cxn modelId="{B1959723-88A5-41B3-8B7D-368130BC8E95}" srcId="{AD637160-2CCA-44F5-BBC6-0EC5BB56EB4D}" destId="{DA26035F-A027-481D-8CA3-ABA99F90AB7B}" srcOrd="0" destOrd="0" parTransId="{27D55EFE-8A07-45B8-917C-CEE0212A7AB3}" sibTransId="{B60FEB63-B0F0-4981-A229-7D595CCF228A}"/>
    <dgm:cxn modelId="{68F9849A-A33A-47F5-978C-0FD11A31B299}" type="presOf" srcId="{AD637160-2CCA-44F5-BBC6-0EC5BB56EB4D}" destId="{EFC25C07-E95E-47E6-8417-FC76521D8880}" srcOrd="0" destOrd="0" presId="urn:microsoft.com/office/officeart/2005/8/layout/vList2"/>
    <dgm:cxn modelId="{92439EBC-CDFC-4E12-84F4-D3EFA4004A2D}" type="presOf" srcId="{3DCDFAD9-B5B9-4E93-BC9F-08AEB1A2036D}" destId="{8E51E51E-879C-4184-ADF6-594E34EAE2BC}" srcOrd="0" destOrd="0" presId="urn:microsoft.com/office/officeart/2005/8/layout/vList2"/>
    <dgm:cxn modelId="{F1A0A1E7-CD6A-4366-97A6-3ACB2E246510}" type="presOf" srcId="{DA26035F-A027-481D-8CA3-ABA99F90AB7B}" destId="{E2B63ED6-AE26-48F0-BA30-F9796045360C}" srcOrd="0" destOrd="0" presId="urn:microsoft.com/office/officeart/2005/8/layout/vList2"/>
    <dgm:cxn modelId="{3692FF2F-5181-49CD-8C9D-A0D38D596422}" type="presParOf" srcId="{EFC25C07-E95E-47E6-8417-FC76521D8880}" destId="{E2B63ED6-AE26-48F0-BA30-F9796045360C}" srcOrd="0" destOrd="0" presId="urn:microsoft.com/office/officeart/2005/8/layout/vList2"/>
    <dgm:cxn modelId="{ACAAF210-754E-4606-86DF-BE08899C9036}" type="presParOf" srcId="{EFC25C07-E95E-47E6-8417-FC76521D8880}" destId="{31F0F09A-10B2-4C70-A624-82F276350652}" srcOrd="1" destOrd="0" presId="urn:microsoft.com/office/officeart/2005/8/layout/vList2"/>
    <dgm:cxn modelId="{2E0F4027-6DCA-4BC5-ACD9-E863A0320873}" type="presParOf" srcId="{EFC25C07-E95E-47E6-8417-FC76521D8880}" destId="{C2647D63-24FA-4921-B3E9-E848D4F13B44}" srcOrd="2" destOrd="0" presId="urn:microsoft.com/office/officeart/2005/8/layout/vList2"/>
    <dgm:cxn modelId="{07A0B6DE-ACA7-481F-8E92-760CCBEE1A75}" type="presParOf" srcId="{EFC25C07-E95E-47E6-8417-FC76521D8880}" destId="{5901606D-2819-4A8E-89A5-24F6DD37E294}" srcOrd="3" destOrd="0" presId="urn:microsoft.com/office/officeart/2005/8/layout/vList2"/>
    <dgm:cxn modelId="{B04F4ADE-FB8D-4A73-B289-5A67AFDA0565}" type="presParOf" srcId="{EFC25C07-E95E-47E6-8417-FC76521D8880}" destId="{8E51E51E-879C-4184-ADF6-594E34EAE2B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D637160-2CCA-44F5-BBC6-0EC5BB56EB4D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AT"/>
        </a:p>
      </dgm:t>
    </dgm:pt>
    <dgm:pt modelId="{DA26035F-A027-481D-8CA3-ABA99F90AB7B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en-US" sz="2800" baseline="0" dirty="0"/>
            <a:t>Getting started with Windows Virtual Desktop</a:t>
          </a:r>
          <a:br>
            <a:rPr lang="de-AT" sz="3500" baseline="0" dirty="0"/>
          </a:br>
          <a:r>
            <a:rPr lang="en-US" sz="1600" dirty="0">
              <a:hlinkClick xmlns:r="http://schemas.openxmlformats.org/officeDocument/2006/relationships" r:id="rId1"/>
            </a:rPr>
            <a:t>https://techcommunity.microsoft.com/t5/Windows-IT-Pro-Blog/Getting-started-with-Windows-Virtual-Desktop/ba-p/391054</a:t>
          </a:r>
          <a:r>
            <a:rPr lang="de-AT" sz="1600" baseline="0" dirty="0"/>
            <a:t> </a:t>
          </a:r>
          <a:endParaRPr lang="de-AT" sz="3500" dirty="0"/>
        </a:p>
      </dgm:t>
    </dgm:pt>
    <dgm:pt modelId="{27D55EFE-8A07-45B8-917C-CEE0212A7AB3}" type="parTrans" cxnId="{B1959723-88A5-41B3-8B7D-368130BC8E95}">
      <dgm:prSet/>
      <dgm:spPr/>
      <dgm:t>
        <a:bodyPr/>
        <a:lstStyle/>
        <a:p>
          <a:endParaRPr lang="de-AT"/>
        </a:p>
      </dgm:t>
    </dgm:pt>
    <dgm:pt modelId="{B60FEB63-B0F0-4981-A229-7D595CCF228A}" type="sibTrans" cxnId="{B1959723-88A5-41B3-8B7D-368130BC8E95}">
      <dgm:prSet/>
      <dgm:spPr/>
      <dgm:t>
        <a:bodyPr/>
        <a:lstStyle/>
        <a:p>
          <a:endParaRPr lang="de-AT"/>
        </a:p>
      </dgm:t>
    </dgm:pt>
    <dgm:pt modelId="{90795AED-2725-44C7-8374-7F1CC2F3A421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en-US" sz="2800" baseline="0" dirty="0"/>
            <a:t>Windows Virtual Desktop </a:t>
          </a:r>
          <a:r>
            <a:rPr lang="en-US" sz="2800" baseline="0" dirty="0" err="1"/>
            <a:t>Dokumentation</a:t>
          </a:r>
          <a:br>
            <a:rPr lang="en-US" sz="3200" baseline="0" dirty="0"/>
          </a:br>
          <a:r>
            <a:rPr lang="en-US" sz="1600" dirty="0">
              <a:hlinkClick xmlns:r="http://schemas.openxmlformats.org/officeDocument/2006/relationships" r:id="rId2"/>
            </a:rPr>
            <a:t>https://docs.microsoft.com/en-us/azure/virtual-desktop/</a:t>
          </a:r>
          <a:br>
            <a:rPr lang="en-US" sz="1600" dirty="0"/>
          </a:br>
          <a:r>
            <a:rPr lang="en-US" sz="1600" dirty="0">
              <a:hlinkClick xmlns:r="http://schemas.openxmlformats.org/officeDocument/2006/relationships" r:id="rId3"/>
            </a:rPr>
            <a:t>https://docs.microsoft.com/de-de/azure/virtual-desktop/overview</a:t>
          </a:r>
          <a:r>
            <a:rPr lang="en-US" sz="1600" dirty="0"/>
            <a:t> </a:t>
          </a:r>
        </a:p>
      </dgm:t>
    </dgm:pt>
    <dgm:pt modelId="{2893E240-AB4F-4838-A24A-A5253148BEBA}" type="parTrans" cxnId="{1638E61E-9EB1-44DA-89AF-1AE5A65A27FD}">
      <dgm:prSet/>
      <dgm:spPr/>
      <dgm:t>
        <a:bodyPr/>
        <a:lstStyle/>
        <a:p>
          <a:endParaRPr lang="de-AT"/>
        </a:p>
      </dgm:t>
    </dgm:pt>
    <dgm:pt modelId="{D68DC693-6922-4359-B793-E61B8803EE68}" type="sibTrans" cxnId="{1638E61E-9EB1-44DA-89AF-1AE5A65A27FD}">
      <dgm:prSet/>
      <dgm:spPr/>
      <dgm:t>
        <a:bodyPr/>
        <a:lstStyle/>
        <a:p>
          <a:endParaRPr lang="de-AT"/>
        </a:p>
      </dgm:t>
    </dgm:pt>
    <dgm:pt modelId="{3DCDFAD9-B5B9-4E93-BC9F-08AEB1A2036D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en-US" sz="3200" baseline="0" dirty="0"/>
            <a:t>Windows Virtual Desktop – </a:t>
          </a:r>
          <a:r>
            <a:rPr lang="en-US" sz="3200" baseline="0" dirty="0" err="1"/>
            <a:t>Preise</a:t>
          </a:r>
          <a:br>
            <a:rPr lang="de-AT" sz="3600" baseline="0" dirty="0"/>
          </a:br>
          <a:r>
            <a:rPr lang="en-US" sz="1600" baseline="0" dirty="0">
              <a:hlinkClick xmlns:r="http://schemas.openxmlformats.org/officeDocument/2006/relationships" r:id="rId4"/>
            </a:rPr>
            <a:t>https://azure.microsoft.com/de-de/pricing/details/virtual-desktop/</a:t>
          </a:r>
          <a:br>
            <a:rPr lang="en-US" sz="1600" baseline="0" dirty="0"/>
          </a:br>
          <a:r>
            <a:rPr lang="en-US" sz="1600" baseline="0" dirty="0">
              <a:hlinkClick xmlns:r="http://schemas.openxmlformats.org/officeDocument/2006/relationships" r:id="rId5"/>
            </a:rPr>
            <a:t>https://azure.microsoft.com/en-us/pricing/details/virtual-desktop/</a:t>
          </a:r>
          <a:r>
            <a:rPr lang="en-US" sz="1600" baseline="0" dirty="0"/>
            <a:t> </a:t>
          </a:r>
          <a:endParaRPr lang="de-AT" sz="3600" dirty="0"/>
        </a:p>
      </dgm:t>
    </dgm:pt>
    <dgm:pt modelId="{504AB9D3-36D7-409A-8BC3-B2995A136982}" type="parTrans" cxnId="{897EF40C-2759-47AD-816B-19B0B297D141}">
      <dgm:prSet/>
      <dgm:spPr/>
      <dgm:t>
        <a:bodyPr/>
        <a:lstStyle/>
        <a:p>
          <a:endParaRPr lang="de-AT"/>
        </a:p>
      </dgm:t>
    </dgm:pt>
    <dgm:pt modelId="{91BC90F0-514B-43F6-B285-F4A9B649B7D5}" type="sibTrans" cxnId="{897EF40C-2759-47AD-816B-19B0B297D141}">
      <dgm:prSet/>
      <dgm:spPr/>
      <dgm:t>
        <a:bodyPr/>
        <a:lstStyle/>
        <a:p>
          <a:endParaRPr lang="de-AT"/>
        </a:p>
      </dgm:t>
    </dgm:pt>
    <dgm:pt modelId="{EFC25C07-E95E-47E6-8417-FC76521D8880}" type="pres">
      <dgm:prSet presAssocID="{AD637160-2CCA-44F5-BBC6-0EC5BB56EB4D}" presName="linear" presStyleCnt="0">
        <dgm:presLayoutVars>
          <dgm:animLvl val="lvl"/>
          <dgm:resizeHandles val="exact"/>
        </dgm:presLayoutVars>
      </dgm:prSet>
      <dgm:spPr/>
    </dgm:pt>
    <dgm:pt modelId="{E2B63ED6-AE26-48F0-BA30-F9796045360C}" type="pres">
      <dgm:prSet presAssocID="{DA26035F-A027-481D-8CA3-ABA99F90AB7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1F0F09A-10B2-4C70-A624-82F276350652}" type="pres">
      <dgm:prSet presAssocID="{B60FEB63-B0F0-4981-A229-7D595CCF228A}" presName="spacer" presStyleCnt="0"/>
      <dgm:spPr/>
    </dgm:pt>
    <dgm:pt modelId="{C2647D63-24FA-4921-B3E9-E848D4F13B44}" type="pres">
      <dgm:prSet presAssocID="{90795AED-2725-44C7-8374-7F1CC2F3A42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901606D-2819-4A8E-89A5-24F6DD37E294}" type="pres">
      <dgm:prSet presAssocID="{D68DC693-6922-4359-B793-E61B8803EE68}" presName="spacer" presStyleCnt="0"/>
      <dgm:spPr/>
    </dgm:pt>
    <dgm:pt modelId="{8E51E51E-879C-4184-ADF6-594E34EAE2BC}" type="pres">
      <dgm:prSet presAssocID="{3DCDFAD9-B5B9-4E93-BC9F-08AEB1A2036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897EF40C-2759-47AD-816B-19B0B297D141}" srcId="{AD637160-2CCA-44F5-BBC6-0EC5BB56EB4D}" destId="{3DCDFAD9-B5B9-4E93-BC9F-08AEB1A2036D}" srcOrd="2" destOrd="0" parTransId="{504AB9D3-36D7-409A-8BC3-B2995A136982}" sibTransId="{91BC90F0-514B-43F6-B285-F4A9B649B7D5}"/>
    <dgm:cxn modelId="{1638E61E-9EB1-44DA-89AF-1AE5A65A27FD}" srcId="{AD637160-2CCA-44F5-BBC6-0EC5BB56EB4D}" destId="{90795AED-2725-44C7-8374-7F1CC2F3A421}" srcOrd="1" destOrd="0" parTransId="{2893E240-AB4F-4838-A24A-A5253148BEBA}" sibTransId="{D68DC693-6922-4359-B793-E61B8803EE68}"/>
    <dgm:cxn modelId="{B1959723-88A5-41B3-8B7D-368130BC8E95}" srcId="{AD637160-2CCA-44F5-BBC6-0EC5BB56EB4D}" destId="{DA26035F-A027-481D-8CA3-ABA99F90AB7B}" srcOrd="0" destOrd="0" parTransId="{27D55EFE-8A07-45B8-917C-CEE0212A7AB3}" sibTransId="{B60FEB63-B0F0-4981-A229-7D595CCF228A}"/>
    <dgm:cxn modelId="{3AEFBB7D-318C-4650-8E94-2152687B1D47}" type="presOf" srcId="{90795AED-2725-44C7-8374-7F1CC2F3A421}" destId="{C2647D63-24FA-4921-B3E9-E848D4F13B44}" srcOrd="0" destOrd="0" presId="urn:microsoft.com/office/officeart/2005/8/layout/vList2"/>
    <dgm:cxn modelId="{09202A94-D1FC-4F6C-AAC7-F0BE7BEC7758}" type="presOf" srcId="{3DCDFAD9-B5B9-4E93-BC9F-08AEB1A2036D}" destId="{8E51E51E-879C-4184-ADF6-594E34EAE2BC}" srcOrd="0" destOrd="0" presId="urn:microsoft.com/office/officeart/2005/8/layout/vList2"/>
    <dgm:cxn modelId="{DCB5BC98-9792-48C4-921C-A27B16501383}" type="presOf" srcId="{AD637160-2CCA-44F5-BBC6-0EC5BB56EB4D}" destId="{EFC25C07-E95E-47E6-8417-FC76521D8880}" srcOrd="0" destOrd="0" presId="urn:microsoft.com/office/officeart/2005/8/layout/vList2"/>
    <dgm:cxn modelId="{3C6129B4-D1A3-4361-942A-147A6016F9D9}" type="presOf" srcId="{DA26035F-A027-481D-8CA3-ABA99F90AB7B}" destId="{E2B63ED6-AE26-48F0-BA30-F9796045360C}" srcOrd="0" destOrd="0" presId="urn:microsoft.com/office/officeart/2005/8/layout/vList2"/>
    <dgm:cxn modelId="{D6582648-D0FF-46FB-AFE1-3B2EC842F17C}" type="presParOf" srcId="{EFC25C07-E95E-47E6-8417-FC76521D8880}" destId="{E2B63ED6-AE26-48F0-BA30-F9796045360C}" srcOrd="0" destOrd="0" presId="urn:microsoft.com/office/officeart/2005/8/layout/vList2"/>
    <dgm:cxn modelId="{6602EC7A-C9C3-496C-AE84-BF42D7474D95}" type="presParOf" srcId="{EFC25C07-E95E-47E6-8417-FC76521D8880}" destId="{31F0F09A-10B2-4C70-A624-82F276350652}" srcOrd="1" destOrd="0" presId="urn:microsoft.com/office/officeart/2005/8/layout/vList2"/>
    <dgm:cxn modelId="{115A2A50-F909-488A-934E-59D2E107D6DF}" type="presParOf" srcId="{EFC25C07-E95E-47E6-8417-FC76521D8880}" destId="{C2647D63-24FA-4921-B3E9-E848D4F13B44}" srcOrd="2" destOrd="0" presId="urn:microsoft.com/office/officeart/2005/8/layout/vList2"/>
    <dgm:cxn modelId="{8B715483-CFD1-4D02-BE41-2965545A8F43}" type="presParOf" srcId="{EFC25C07-E95E-47E6-8417-FC76521D8880}" destId="{5901606D-2819-4A8E-89A5-24F6DD37E294}" srcOrd="3" destOrd="0" presId="urn:microsoft.com/office/officeart/2005/8/layout/vList2"/>
    <dgm:cxn modelId="{627C6644-73B0-4664-8258-3F4503034F44}" type="presParOf" srcId="{EFC25C07-E95E-47E6-8417-FC76521D8880}" destId="{8E51E51E-879C-4184-ADF6-594E34EAE2B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B63ED6-AE26-48F0-BA30-F9796045360C}">
      <dsp:nvSpPr>
        <dsp:cNvPr id="0" name=""/>
        <dsp:cNvSpPr/>
      </dsp:nvSpPr>
      <dsp:spPr>
        <a:xfrm>
          <a:off x="0" y="50121"/>
          <a:ext cx="8534219" cy="151164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3800" kern="1200" baseline="0" dirty="0"/>
            <a:t>Ich möchte den modernen Arbeitsplatz auch virtuell nutzen können</a:t>
          </a:r>
          <a:endParaRPr lang="de-AT" sz="3800" kern="1200" dirty="0"/>
        </a:p>
      </dsp:txBody>
      <dsp:txXfrm>
        <a:off x="73792" y="123913"/>
        <a:ext cx="8386635" cy="1364056"/>
      </dsp:txXfrm>
    </dsp:sp>
    <dsp:sp modelId="{C2647D63-24FA-4921-B3E9-E848D4F13B44}">
      <dsp:nvSpPr>
        <dsp:cNvPr id="0" name=""/>
        <dsp:cNvSpPr/>
      </dsp:nvSpPr>
      <dsp:spPr>
        <a:xfrm>
          <a:off x="0" y="1671201"/>
          <a:ext cx="8534219" cy="151164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3800" kern="1200" baseline="0" dirty="0"/>
            <a:t>Ich benötige Flexibilität</a:t>
          </a:r>
          <a:endParaRPr lang="de-AT" sz="3800" kern="1200" dirty="0"/>
        </a:p>
      </dsp:txBody>
      <dsp:txXfrm>
        <a:off x="73792" y="1744993"/>
        <a:ext cx="8386635" cy="1364056"/>
      </dsp:txXfrm>
    </dsp:sp>
    <dsp:sp modelId="{8E51E51E-879C-4184-ADF6-594E34EAE2BC}">
      <dsp:nvSpPr>
        <dsp:cNvPr id="0" name=""/>
        <dsp:cNvSpPr/>
      </dsp:nvSpPr>
      <dsp:spPr>
        <a:xfrm>
          <a:off x="0" y="3292281"/>
          <a:ext cx="8534219" cy="151164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3600" kern="1200" dirty="0"/>
            <a:t>Die Bereitstellung und Verwaltung der </a:t>
          </a:r>
          <a:r>
            <a:rPr lang="en-US" sz="3600" kern="1200" dirty="0" err="1"/>
            <a:t>Infrastruktur</a:t>
          </a:r>
          <a:r>
            <a:rPr lang="en-US" sz="3600" kern="1200" dirty="0"/>
            <a:t> </a:t>
          </a:r>
          <a:r>
            <a:rPr lang="de-AT" sz="3600" kern="1200" dirty="0"/>
            <a:t>für RDS ist aufwendig</a:t>
          </a:r>
        </a:p>
      </dsp:txBody>
      <dsp:txXfrm>
        <a:off x="73792" y="3366073"/>
        <a:ext cx="8386635" cy="13640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B63ED6-AE26-48F0-BA30-F9796045360C}">
      <dsp:nvSpPr>
        <dsp:cNvPr id="0" name=""/>
        <dsp:cNvSpPr/>
      </dsp:nvSpPr>
      <dsp:spPr>
        <a:xfrm>
          <a:off x="0" y="30054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baseline="0" noProof="0" dirty="0"/>
            <a:t>Ermöglicht</a:t>
          </a:r>
          <a:r>
            <a:rPr lang="en-US" sz="3200" kern="1200" baseline="0" dirty="0"/>
            <a:t> Windows 10 multi-session, </a:t>
          </a:r>
          <a:r>
            <a:rPr lang="de-DE" sz="3200" kern="1200" baseline="0" dirty="0"/>
            <a:t>optimiert für Office 365 ProPlus</a:t>
          </a:r>
          <a:endParaRPr lang="de-AT" sz="3200" kern="1200" dirty="0"/>
        </a:p>
      </dsp:txBody>
      <dsp:txXfrm>
        <a:off x="63112" y="363658"/>
        <a:ext cx="8407995" cy="1166626"/>
      </dsp:txXfrm>
    </dsp:sp>
    <dsp:sp modelId="{C2647D63-24FA-4921-B3E9-E848D4F13B44}">
      <dsp:nvSpPr>
        <dsp:cNvPr id="0" name=""/>
        <dsp:cNvSpPr/>
      </dsp:nvSpPr>
      <dsp:spPr>
        <a:xfrm>
          <a:off x="0" y="178059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dirty="0"/>
            <a:t>Flexibler Service, mit dem man sowohl Desktops als auch Apps virtualisieren kann</a:t>
          </a:r>
          <a:endParaRPr lang="de-AT" sz="3200" kern="1200" dirty="0"/>
        </a:p>
      </dsp:txBody>
      <dsp:txXfrm>
        <a:off x="63112" y="1843708"/>
        <a:ext cx="8407995" cy="1166626"/>
      </dsp:txXfrm>
    </dsp:sp>
    <dsp:sp modelId="{8E51E51E-879C-4184-ADF6-594E34EAE2BC}">
      <dsp:nvSpPr>
        <dsp:cNvPr id="0" name=""/>
        <dsp:cNvSpPr/>
      </dsp:nvSpPr>
      <dsp:spPr>
        <a:xfrm>
          <a:off x="0" y="326064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baseline="0" dirty="0"/>
            <a:t>Windows Server (2012R2 +)</a:t>
          </a:r>
          <a:r>
            <a:rPr lang="de-DE" sz="2800" kern="1200" baseline="0" noProof="0" dirty="0"/>
            <a:t>Unterstützung</a:t>
          </a:r>
          <a:endParaRPr lang="de-AT" sz="3100" kern="1200" dirty="0"/>
        </a:p>
      </dsp:txBody>
      <dsp:txXfrm>
        <a:off x="63112" y="3323758"/>
        <a:ext cx="8407995" cy="11666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B63ED6-AE26-48F0-BA30-F9796045360C}">
      <dsp:nvSpPr>
        <dsp:cNvPr id="0" name=""/>
        <dsp:cNvSpPr/>
      </dsp:nvSpPr>
      <dsp:spPr>
        <a:xfrm>
          <a:off x="0" y="30054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baseline="0" dirty="0"/>
            <a:t>Getting started with Windows Virtual Desktop</a:t>
          </a:r>
          <a:br>
            <a:rPr lang="de-AT" sz="3500" kern="1200" baseline="0" dirty="0"/>
          </a:br>
          <a:r>
            <a:rPr lang="en-US" sz="1600" kern="1200" dirty="0">
              <a:hlinkClick xmlns:r="http://schemas.openxmlformats.org/officeDocument/2006/relationships" r:id="rId1"/>
            </a:rPr>
            <a:t>https://techcommunity.microsoft.com/t5/Windows-IT-Pro-Blog/Getting-started-with-Windows-Virtual-Desktop/ba-p/391054</a:t>
          </a:r>
          <a:r>
            <a:rPr lang="de-AT" sz="1600" kern="1200" baseline="0" dirty="0"/>
            <a:t> </a:t>
          </a:r>
          <a:endParaRPr lang="de-AT" sz="3500" kern="1200" dirty="0"/>
        </a:p>
      </dsp:txBody>
      <dsp:txXfrm>
        <a:off x="63112" y="363658"/>
        <a:ext cx="8407995" cy="1166626"/>
      </dsp:txXfrm>
    </dsp:sp>
    <dsp:sp modelId="{C2647D63-24FA-4921-B3E9-E848D4F13B44}">
      <dsp:nvSpPr>
        <dsp:cNvPr id="0" name=""/>
        <dsp:cNvSpPr/>
      </dsp:nvSpPr>
      <dsp:spPr>
        <a:xfrm>
          <a:off x="0" y="178059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baseline="0" dirty="0"/>
            <a:t>Windows Virtual Desktop </a:t>
          </a:r>
          <a:r>
            <a:rPr lang="en-US" sz="2800" kern="1200" baseline="0" dirty="0" err="1"/>
            <a:t>Dokumentation</a:t>
          </a:r>
          <a:br>
            <a:rPr lang="en-US" sz="3200" kern="1200" baseline="0" dirty="0"/>
          </a:br>
          <a:r>
            <a:rPr lang="en-US" sz="1600" kern="1200" dirty="0">
              <a:hlinkClick xmlns:r="http://schemas.openxmlformats.org/officeDocument/2006/relationships" r:id="rId2"/>
            </a:rPr>
            <a:t>https://docs.microsoft.com/en-us/azure/virtual-desktop/</a:t>
          </a:r>
          <a:br>
            <a:rPr lang="en-US" sz="1600" kern="1200" dirty="0"/>
          </a:br>
          <a:r>
            <a:rPr lang="en-US" sz="1600" kern="1200" dirty="0">
              <a:hlinkClick xmlns:r="http://schemas.openxmlformats.org/officeDocument/2006/relationships" r:id="rId3"/>
            </a:rPr>
            <a:t>https://docs.microsoft.com/de-de/azure/virtual-desktop/overview</a:t>
          </a:r>
          <a:r>
            <a:rPr lang="en-US" sz="1600" kern="1200" dirty="0"/>
            <a:t> </a:t>
          </a:r>
        </a:p>
      </dsp:txBody>
      <dsp:txXfrm>
        <a:off x="63112" y="1843708"/>
        <a:ext cx="8407995" cy="1166626"/>
      </dsp:txXfrm>
    </dsp:sp>
    <dsp:sp modelId="{8E51E51E-879C-4184-ADF6-594E34EAE2BC}">
      <dsp:nvSpPr>
        <dsp:cNvPr id="0" name=""/>
        <dsp:cNvSpPr/>
      </dsp:nvSpPr>
      <dsp:spPr>
        <a:xfrm>
          <a:off x="0" y="3260646"/>
          <a:ext cx="8534219" cy="1292850"/>
        </a:xfrm>
        <a:prstGeom prst="round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baseline="0" dirty="0"/>
            <a:t>Windows Virtual Desktop – </a:t>
          </a:r>
          <a:r>
            <a:rPr lang="en-US" sz="3200" kern="1200" baseline="0" dirty="0" err="1"/>
            <a:t>Preise</a:t>
          </a:r>
          <a:br>
            <a:rPr lang="de-AT" sz="3600" kern="1200" baseline="0" dirty="0"/>
          </a:br>
          <a:r>
            <a:rPr lang="en-US" sz="1600" kern="1200" baseline="0" dirty="0">
              <a:hlinkClick xmlns:r="http://schemas.openxmlformats.org/officeDocument/2006/relationships" r:id="rId4"/>
            </a:rPr>
            <a:t>https://azure.microsoft.com/de-de/pricing/details/virtual-desktop/</a:t>
          </a:r>
          <a:br>
            <a:rPr lang="en-US" sz="1600" kern="1200" baseline="0" dirty="0"/>
          </a:br>
          <a:r>
            <a:rPr lang="en-US" sz="1600" kern="1200" baseline="0" dirty="0">
              <a:hlinkClick xmlns:r="http://schemas.openxmlformats.org/officeDocument/2006/relationships" r:id="rId5"/>
            </a:rPr>
            <a:t>https://azure.microsoft.com/en-us/pricing/details/virtual-desktop/</a:t>
          </a:r>
          <a:r>
            <a:rPr lang="en-US" sz="1600" kern="1200" baseline="0" dirty="0"/>
            <a:t> </a:t>
          </a:r>
          <a:endParaRPr lang="de-AT" sz="3600" kern="1200" dirty="0"/>
        </a:p>
      </dsp:txBody>
      <dsp:txXfrm>
        <a:off x="63112" y="3323758"/>
        <a:ext cx="8407995" cy="11666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F1FF3-F137-6548-9E37-286C32B2D447}" type="datetimeFigureOut">
              <a:rPr lang="de-DE" smtClean="0"/>
              <a:t>10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6CC62C-9DE2-4D44-85D9-6433536DB3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04589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DFB180-BC41-4DA6-BB84-E4F17BE42F78}" type="datetimeFigureOut">
              <a:rPr lang="de-DE" smtClean="0"/>
              <a:t>10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47C86B-0DAE-441B-A6A0-483B207D0AB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3088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0050" y="706438"/>
            <a:ext cx="6276975" cy="3532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5315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VD includes a full set of REST APIs, PowerShell CMDLETS, ARM Templates, Azure Marketplace Tools and coming soon a fully integrated Azure Portal experience for deployment and management.</a:t>
            </a:r>
          </a:p>
          <a:p>
            <a:endParaRPr lang="en-US"/>
          </a:p>
          <a:p>
            <a:r>
              <a:rPr lang="en-US"/>
              <a:t>What I will show you now is how easy it is to setup a WVD deployment using our Azure Marketplace Tool.</a:t>
            </a:r>
          </a:p>
          <a:p>
            <a:endParaRPr lang="en-US"/>
          </a:p>
          <a:p>
            <a:pPr marL="0" indent="0">
              <a:buFontTx/>
              <a:buNone/>
            </a:pPr>
            <a:endParaRPr lang="en-US"/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74EE-8191-4BCC-ABE6-D00A4F4D76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0/2020 12:3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5860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0050" y="706438"/>
            <a:ext cx="6276975" cy="3532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935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KEY POIN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ny Microsoft customers are already eligible for WVD today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makes positioning WVD even easi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580FA7-2A11-4403-A54D-9B2F15AFF8C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6449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127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0050" y="706438"/>
            <a:ext cx="6276975" cy="35321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069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504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8CFED2-48E5-445F-87CB-3FD244D199F6}"/>
              </a:ext>
            </a:extLst>
          </p:cNvPr>
          <p:cNvSpPr txBox="1"/>
          <p:nvPr/>
        </p:nvSpPr>
        <p:spPr>
          <a:xfrm>
            <a:off x="4673600" y="786289"/>
            <a:ext cx="4206240" cy="2816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5040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The tools to do more and stay secure.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7042A6-CE5F-4671-9DE4-2BBBE76FFB99}"/>
              </a:ext>
            </a:extLst>
          </p:cNvPr>
          <p:cNvSpPr txBox="1"/>
          <p:nvPr/>
        </p:nvSpPr>
        <p:spPr>
          <a:xfrm>
            <a:off x="6278202" y="2503953"/>
            <a:ext cx="2918129" cy="41185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3177" tIns="46589" rIns="93177" bIns="46589" rtlCol="0">
            <a:noAutofit/>
          </a:bodyPr>
          <a:lstStyle/>
          <a:p>
            <a:pPr marL="0" marR="0" lvl="0" indent="0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ey points to land</a:t>
            </a:r>
          </a:p>
          <a:p>
            <a:pPr marL="349415" marR="0" lvl="0" indent="-349415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loves IT</a:t>
            </a:r>
          </a:p>
          <a:p>
            <a:pPr marL="349415" marR="0" lvl="0" indent="-349415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ndows 10 is the platform for today:</a:t>
            </a:r>
          </a:p>
          <a:p>
            <a:pPr marL="824620" marR="0" lvl="1" indent="-349415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t to solve these challenges for IT</a:t>
            </a:r>
          </a:p>
          <a:p>
            <a:pPr marL="824620" marR="0" lvl="1" indent="-349415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ilt for the next digital revolution</a:t>
            </a:r>
          </a:p>
          <a:p>
            <a:pPr marL="349415" marR="0" lvl="0" indent="-349415" algn="l" defTabSz="9504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23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867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67"/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dows OS that supports multiple active sessions and provides:</a:t>
            </a:r>
          </a:p>
          <a:p>
            <a:pPr lvl="1" defTabSz="914367"/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ent-like experience including look-and-feel, security updates, UAP, Edge, Cortana, Windows Desktop Search</a:t>
            </a:r>
          </a:p>
          <a:p>
            <a:pPr lvl="1" defTabSz="914367"/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ent-like app-compatibility (e.g. Office 365)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er-like user density</a:t>
            </a:r>
          </a:p>
          <a:p>
            <a:pPr defTabSz="914367"/>
            <a:endParaRPr lang="en-US" sz="24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lease schedule aligned with Windows and Office Semi-Annual releases</a:t>
            </a:r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r>
              <a:rPr lang="en-US" sz="15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32*: Any Win32 application that writes user data outside of the user context (e.g. HKLM, System32, etc.) will not work as expected in </a:t>
            </a:r>
            <a:r>
              <a:rPr lang="en-US" sz="1600"/>
              <a:t>multi-session</a:t>
            </a:r>
            <a:r>
              <a:rPr lang="en-US" sz="15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dition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7CB472-61B4-4A29-9AC5-4249580BC9CF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0/2020 10:15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35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pPr defTabSz="914367"/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dows OS that supports multiple active sessions and provides:</a:t>
            </a:r>
          </a:p>
          <a:p>
            <a:pPr lvl="1" defTabSz="914367"/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ent-like experience including look-and-feel, security updates, UAP, Edge, Cortana, Windows Desktop Search</a:t>
            </a:r>
          </a:p>
          <a:p>
            <a:pPr lvl="1" defTabSz="914367"/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ent-like app-compatibility (e.g. Office 365)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er-like user density</a:t>
            </a:r>
          </a:p>
          <a:p>
            <a:pPr defTabSz="914367"/>
            <a:endParaRPr lang="en-US" sz="24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r>
              <a:rPr lang="en-US" sz="24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lease schedule aligned with Windows and Office Semi-Annual releases</a:t>
            </a:r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r>
              <a:rPr lang="en-US" sz="150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32*: Any Win32 application that writes user data outside of the user context (e.g. HKLM, System32, etc.) will not work as expected in multi-session edition.</a:t>
            </a:r>
          </a:p>
          <a:p>
            <a:pPr defTabSz="914367"/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914367"/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indent="0">
              <a:buNone/>
            </a:pPr>
            <a:r>
              <a:rPr lang="en-US" sz="1600"/>
              <a:t>Provides a full Windows 10 Enterprise experience, including Edge, Cortana, and Store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Best Office 365 </a:t>
            </a:r>
            <a:r>
              <a:rPr lang="en-US" sz="1600" err="1"/>
              <a:t>ProPlus</a:t>
            </a:r>
            <a:r>
              <a:rPr lang="en-US" sz="1600"/>
              <a:t> experience in multi session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Reduces IT costs by scales 4× users compared to Windows 10 Enterprise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Simplified management on Azure with a single image </a:t>
            </a:r>
            <a:r>
              <a:rPr lang="en-US" sz="1400"/>
              <a:t>for</a:t>
            </a:r>
            <a:r>
              <a:rPr lang="en-US" sz="1600"/>
              <a:t> both single-session and multi-session</a:t>
            </a:r>
          </a:p>
          <a:p>
            <a:r>
              <a:rPr lang="en-US" sz="1600"/>
              <a:t>Compatible with SCCM/Intune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GPU acceleration for encoding and video provides improved responsiveness and smooth video playback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User can use built-in or attached cameras in remote applications or remote desktops with new and legacy Windows applications</a:t>
            </a:r>
          </a:p>
          <a:p>
            <a:pPr defTabSz="914367"/>
            <a:endParaRPr lang="en-US" sz="150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7CB472-61B4-4A29-9AC5-4249580BC9CF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0/2020 10:15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6087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AAF5E-B7D9-4970-ACF6-8BEA26F0046B}"/>
              </a:ext>
            </a:extLst>
          </p:cNvPr>
          <p:cNvSpPr txBox="1"/>
          <p:nvPr/>
        </p:nvSpPr>
        <p:spPr>
          <a:xfrm>
            <a:off x="3657600" y="1082759"/>
            <a:ext cx="3291840" cy="2908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3268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-106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DADBC5-307D-46DF-A451-4A860BBB8AAE}"/>
              </a:ext>
            </a:extLst>
          </p:cNvPr>
          <p:cNvSpPr txBox="1"/>
          <p:nvPr/>
        </p:nvSpPr>
        <p:spPr>
          <a:xfrm>
            <a:off x="4913375" y="3448066"/>
            <a:ext cx="2283753" cy="56714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6661" tIns="48331" rIns="96661" bIns="48331" rtlCol="0">
            <a:noAutofit/>
          </a:bodyPr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69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-5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ey points to land</a:t>
            </a:r>
          </a:p>
          <a:p>
            <a:pPr marL="362480" marR="0" lvl="0" indent="-36248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69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</a:p>
          <a:p>
            <a:pPr marL="362480" marR="0" lvl="0" indent="-36248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69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</a:p>
          <a:p>
            <a:pPr marL="362480" marR="0" lvl="0" indent="-36248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69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43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/>
              <a:t>Prerequisites needed to deploy WVD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Azure Subscription – Deploy virtual machines, network resources, and all the items you typically need to spin up a VM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Azure Active Directory – If using O365, Intune, or other Microsoft cloud service, that means you already have this. If not, there is tons of documentation that describes how to set up Azure AD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Determine your identity strategy (AD, ADDS) - more on this in the next slides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All associated Azure resources – Tip: ensure these are deployed in same region. Not requirement but helpful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dirty="0"/>
              <a:t>Required credentials – more info on this in the next slides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y 2018 Roadshow Virtuali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ACF9B1-0339-4B7C-B282-263AFE02D0C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3268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7DEF79-6E8B-409D-A063-50DE6978025A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xt</a:t>
            </a: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745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large organizations, these are typically different people, but if you’re just starting out or run a small IT department, these can be the same person if needed. </a:t>
            </a:r>
          </a:p>
          <a:p>
            <a:r>
              <a:rPr lang="en-US" dirty="0"/>
              <a:t>-Azure subscription admin: to grant access to Azure portal and resources</a:t>
            </a:r>
          </a:p>
          <a:p>
            <a:r>
              <a:rPr lang="en-US" dirty="0"/>
              <a:t>-Azure Active Directory admin: to provision users and manager user and admin access</a:t>
            </a:r>
          </a:p>
          <a:p>
            <a:r>
              <a:rPr lang="en-US" dirty="0"/>
              <a:t>-Windows Virtual Desktop tenant admin: to provision and maintain WVD-specific settings. </a:t>
            </a:r>
          </a:p>
          <a:p>
            <a:r>
              <a:rPr lang="en-US" dirty="0"/>
              <a:t>-Virtual machine admin: to provision virtual machines once the WVD tenant is set up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854EB8-4C4D-4596-9E16-F337F8524D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66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768B4-67E7-40A3-BC6E-3B4E4B365D9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0/2020 10:15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39106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SLogix</a:t>
            </a:r>
            <a:r>
              <a:rPr lang="en-US" dirty="0"/>
              <a:t> Profile container solution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rofile is stored in VHD/VHD(X)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ame approach used by UPD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unted at Login using block transfer – faster login and no target storage requirement. More performant and more resilient 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ize of Profile doesn’t impact logon time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VHD(X) = Block Transfer decreases network utilization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aching from Windows Cache Manager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rofile Container redirects everything from the user profile.</a:t>
            </a:r>
          </a:p>
          <a:p>
            <a:pPr marL="292100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ilter driver causes profile to appear local – broader application support</a:t>
            </a:r>
          </a:p>
          <a:p>
            <a:pPr marL="758444" lvl="1" indent="-2921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ystem thinks internal, key for apps that want system/local drives to do work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854EB8-4C4D-4596-9E16-F337F8524D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657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pre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448768"/>
            <a:ext cx="10797105" cy="1831851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5400"/>
            </a:lvl1pPr>
          </a:lstStyle>
          <a:p>
            <a:pPr algn="l"/>
            <a:r>
              <a:rPr lang="de-DE" dirty="0"/>
              <a:t>Titel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68922" y="4951163"/>
            <a:ext cx="9297377" cy="404387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1800"/>
            </a:lvl1pPr>
          </a:lstStyle>
          <a:p>
            <a:pPr algn="l"/>
            <a:r>
              <a:rPr lang="de-DE" dirty="0"/>
              <a:t>Sprechername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73296" y="4507419"/>
            <a:ext cx="45878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600" b="1" i="0" u="none" strike="noStrike" kern="1200" baseline="30000" dirty="0">
                <a:solidFill>
                  <a:srgbClr val="D51317"/>
                </a:solidFill>
                <a:latin typeface="Klavika Bold Bold"/>
                <a:ea typeface="+mn-ea"/>
                <a:cs typeface="Klavika Bold Bold"/>
              </a:rPr>
              <a:t>[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01187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Video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5" hasCustomPrompt="1"/>
          </p:nvPr>
        </p:nvSpPr>
        <p:spPr>
          <a:xfrm>
            <a:off x="302685" y="1417638"/>
            <a:ext cx="11565467" cy="4678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19767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lock auf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1219199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1339573" y="4321786"/>
            <a:ext cx="7130223" cy="1871663"/>
          </a:xfrm>
          <a:prstGeom prst="rect">
            <a:avLst/>
          </a:prstGeom>
          <a:solidFill>
            <a:srgbClr val="3D3D3C"/>
          </a:solidFill>
        </p:spPr>
        <p:txBody>
          <a:bodyPr lIns="72000" tIns="0" bIns="0" anchor="ctr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>
                <a:latin typeface="Klavika Bold Bold"/>
                <a:cs typeface="Klavika Bold Bold"/>
              </a:defRPr>
            </a:lvl1pPr>
          </a:lstStyle>
          <a:p>
            <a:pPr lvl="0"/>
            <a:r>
              <a:rPr lang="de-DE" dirty="0"/>
              <a:t>TEXTBLOCK</a:t>
            </a:r>
            <a:br>
              <a:rPr lang="de-DE" dirty="0"/>
            </a:br>
            <a:r>
              <a:rPr lang="de-DE" dirty="0"/>
              <a:t>AUF HINTERGRUND</a:t>
            </a:r>
          </a:p>
        </p:txBody>
      </p:sp>
      <p:sp>
        <p:nvSpPr>
          <p:cNvPr id="14" name="Rechteck 13"/>
          <p:cNvSpPr/>
          <p:nvPr userDrawn="1"/>
        </p:nvSpPr>
        <p:spPr>
          <a:xfrm>
            <a:off x="599348" y="4047935"/>
            <a:ext cx="752861" cy="1871663"/>
          </a:xfrm>
          <a:prstGeom prst="rect">
            <a:avLst/>
          </a:prstGeom>
          <a:solidFill>
            <a:srgbClr val="3D3D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1" name="Rechteck 10"/>
          <p:cNvSpPr/>
          <p:nvPr userDrawn="1"/>
        </p:nvSpPr>
        <p:spPr>
          <a:xfrm>
            <a:off x="599348" y="4285092"/>
            <a:ext cx="752861" cy="2308324"/>
          </a:xfrm>
          <a:prstGeom prst="rect">
            <a:avLst/>
          </a:prstGeom>
        </p:spPr>
        <p:txBody>
          <a:bodyPr wrap="square" tIns="0" bIns="0" anchor="ctr" anchorCtr="0">
            <a:spAutoFit/>
          </a:bodyPr>
          <a:lstStyle/>
          <a:p>
            <a:r>
              <a:rPr lang="de-DE" sz="15000" b="1" baseline="30000" dirty="0">
                <a:solidFill>
                  <a:srgbClr val="D51317"/>
                </a:solidFill>
                <a:latin typeface="Klavika Bold Bold"/>
                <a:cs typeface="Klavika Bold Bold"/>
              </a:rPr>
              <a:t>[</a:t>
            </a:r>
            <a:endParaRPr lang="de-DE" sz="15000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22555" y="1744064"/>
            <a:ext cx="1781884" cy="167723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1318861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2388" y="1610315"/>
            <a:ext cx="5692013" cy="45158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10315"/>
            <a:ext cx="5640981" cy="45158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Seite für ZWEI Inhalte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0539134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2388" y="1610315"/>
            <a:ext cx="5694131" cy="451585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400">
                <a:solidFill>
                  <a:srgbClr val="3D3D3C"/>
                </a:solidFill>
              </a:defRPr>
            </a:lvl1pPr>
            <a:lvl2pPr>
              <a:defRPr sz="2000">
                <a:solidFill>
                  <a:srgbClr val="3D3D3C"/>
                </a:solidFill>
              </a:defRPr>
            </a:lvl2pPr>
            <a:lvl3pPr>
              <a:defRPr sz="1800">
                <a:solidFill>
                  <a:srgbClr val="3D3D3C"/>
                </a:solidFill>
              </a:defRPr>
            </a:lvl3pPr>
            <a:lvl4pPr>
              <a:defRPr sz="1600">
                <a:solidFill>
                  <a:srgbClr val="3D3D3C"/>
                </a:solidFill>
              </a:defRPr>
            </a:lvl4pPr>
            <a:lvl5pPr>
              <a:defRPr sz="1600">
                <a:solidFill>
                  <a:srgbClr val="3D3D3C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9" y="1610315"/>
            <a:ext cx="5660335" cy="451585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400">
                <a:solidFill>
                  <a:srgbClr val="3D3D3C"/>
                </a:solidFill>
              </a:defRPr>
            </a:lvl1pPr>
            <a:lvl2pPr>
              <a:defRPr sz="2000">
                <a:solidFill>
                  <a:srgbClr val="3D3D3C"/>
                </a:solidFill>
              </a:defRPr>
            </a:lvl2pPr>
            <a:lvl3pPr>
              <a:defRPr sz="1800">
                <a:solidFill>
                  <a:srgbClr val="3D3D3C"/>
                </a:solidFill>
              </a:defRPr>
            </a:lvl3pPr>
            <a:lvl4pPr>
              <a:defRPr sz="1600">
                <a:solidFill>
                  <a:srgbClr val="3D3D3C"/>
                </a:solidFill>
              </a:defRPr>
            </a:lvl4pPr>
            <a:lvl5pPr>
              <a:defRPr sz="1600">
                <a:solidFill>
                  <a:srgbClr val="3D3D3C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Seite für ZWEI Inhalte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1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63649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tzhalter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sz="quarter" idx="15"/>
          </p:nvPr>
        </p:nvSpPr>
        <p:spPr>
          <a:xfrm>
            <a:off x="302686" y="1100139"/>
            <a:ext cx="11550649" cy="497469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2525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33303855"/>
              </p:ext>
            </p:extLst>
          </p:nvPr>
        </p:nvGraphicFramePr>
        <p:xfrm>
          <a:off x="302684" y="1291166"/>
          <a:ext cx="11568792" cy="4341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8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2361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75991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i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079890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iz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02389" y="1406189"/>
            <a:ext cx="11565763" cy="4751724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800">
                <a:latin typeface="KlavikaRegular-TF"/>
                <a:cs typeface="KlavikaRegular-TF"/>
              </a:defRPr>
            </a:lvl1pPr>
            <a:lvl2pPr>
              <a:defRPr sz="1800">
                <a:latin typeface="KlavikaRegular-TF"/>
                <a:cs typeface="KlavikaRegular-TF"/>
              </a:defRPr>
            </a:lvl2pPr>
            <a:lvl3pPr>
              <a:defRPr sz="1800">
                <a:latin typeface="KlavikaRegular-TF"/>
                <a:cs typeface="KlavikaRegular-TF"/>
              </a:defRPr>
            </a:lvl3pPr>
            <a:lvl4pPr>
              <a:defRPr sz="1800">
                <a:latin typeface="KlavikaRegular-TF"/>
                <a:cs typeface="KlavikaRegular-TF"/>
              </a:defRPr>
            </a:lvl4pPr>
            <a:lvl5pPr>
              <a:defRPr sz="1800">
                <a:latin typeface="KlavikaRegular-TF"/>
                <a:cs typeface="KlavikaRegular-TF"/>
              </a:defRPr>
            </a:lvl5pPr>
          </a:lstStyle>
          <a:p>
            <a:pPr lvl="0"/>
            <a:r>
              <a:rPr lang="de-DE" dirty="0"/>
              <a:t>Sprechernotizen</a:t>
            </a:r>
          </a:p>
        </p:txBody>
      </p:sp>
    </p:spTree>
    <p:extLst>
      <p:ext uri="{BB962C8B-B14F-4D97-AF65-F5344CB8AC3E}">
        <p14:creationId xmlns:p14="http://schemas.microsoft.com/office/powerpoint/2010/main" val="31950171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366310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3498" y="2168746"/>
            <a:ext cx="11151917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47103" y="4153493"/>
            <a:ext cx="11378959" cy="86536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200" spc="-100" baseline="0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2400" spc="-50" baseline="0">
                <a:solidFill>
                  <a:schemeClr val="bg1"/>
                </a:solidFill>
                <a:latin typeface="Segoe UI Light"/>
                <a:cs typeface="Segoe UI Ligh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 32pt</a:t>
            </a:r>
          </a:p>
          <a:p>
            <a:pPr lvl="1"/>
            <a:r>
              <a:rPr lang="en-US"/>
              <a:t>Second level 24pt</a:t>
            </a:r>
          </a:p>
        </p:txBody>
      </p:sp>
    </p:spTree>
    <p:extLst>
      <p:ext uri="{BB962C8B-B14F-4D97-AF65-F5344CB8AC3E}">
        <p14:creationId xmlns:p14="http://schemas.microsoft.com/office/powerpoint/2010/main" val="40623021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hne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02389" y="1469292"/>
            <a:ext cx="11565763" cy="468862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40E14"/>
              </a:buClr>
              <a:buSzTx/>
              <a:buFont typeface="Arial" panose="020B0604020202020204" pitchFamily="34" charset="0"/>
              <a:buNone/>
              <a:tabLst/>
              <a:defRPr sz="1800" b="0" baseline="0">
                <a:latin typeface="KlavikaRegular-TF"/>
                <a:cs typeface="KlavikaRegular-TF"/>
              </a:defRPr>
            </a:lvl1pPr>
            <a:lvl2pPr>
              <a:defRPr sz="1800">
                <a:latin typeface="KlavikaRegular-TF"/>
                <a:cs typeface="KlavikaRegular-TF"/>
              </a:defRPr>
            </a:lvl2pPr>
            <a:lvl3pPr>
              <a:defRPr sz="1800">
                <a:latin typeface="KlavikaRegular-TF"/>
                <a:cs typeface="KlavikaRegular-TF"/>
              </a:defRPr>
            </a:lvl3pPr>
            <a:lvl4pPr>
              <a:defRPr sz="1800">
                <a:latin typeface="KlavikaRegular-TF"/>
                <a:cs typeface="KlavikaRegular-TF"/>
              </a:defRPr>
            </a:lvl4pPr>
            <a:lvl5pPr>
              <a:defRPr sz="1800">
                <a:latin typeface="KlavikaRegular-TF"/>
                <a:cs typeface="KlavikaRegular-TF"/>
              </a:defRPr>
            </a:lvl5pPr>
          </a:lstStyle>
          <a:p>
            <a:pPr lvl="0"/>
            <a:r>
              <a:rPr lang="de-DE" dirty="0"/>
              <a:t>Fließtext </a:t>
            </a:r>
          </a:p>
          <a:p>
            <a:pPr lvl="0"/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02686" y="1305169"/>
            <a:ext cx="11565466" cy="70338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52464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06480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Spre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448768"/>
            <a:ext cx="10797105" cy="1831851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5400"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Titel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68922" y="4951163"/>
            <a:ext cx="9297377" cy="404387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1800"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Sprechername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73296" y="4507419"/>
            <a:ext cx="45878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600" b="1" i="0" u="none" strike="noStrike" kern="1200" baseline="30000" dirty="0">
                <a:solidFill>
                  <a:srgbClr val="D51317"/>
                </a:solidFill>
                <a:latin typeface="Klavika Bold Bold"/>
                <a:ea typeface="+mn-ea"/>
                <a:cs typeface="Klavika Bold Bold"/>
              </a:rPr>
              <a:t>[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458275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hne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02389" y="1469292"/>
            <a:ext cx="11565763" cy="468862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40E14"/>
              </a:buClr>
              <a:buSzTx/>
              <a:buFont typeface="Arial" panose="020B0604020202020204" pitchFamily="34" charset="0"/>
              <a:buNone/>
              <a:tabLst/>
              <a:defRPr sz="1800" b="0" baseline="0">
                <a:solidFill>
                  <a:srgbClr val="3D3D3C"/>
                </a:solidFill>
                <a:latin typeface="KlavikaRegular-TF"/>
                <a:cs typeface="KlavikaRegular-TF"/>
              </a:defRPr>
            </a:lvl1pPr>
            <a:lvl2pPr>
              <a:defRPr sz="1800">
                <a:latin typeface="KlavikaRegular-TF"/>
                <a:cs typeface="KlavikaRegular-TF"/>
              </a:defRPr>
            </a:lvl2pPr>
            <a:lvl3pPr>
              <a:defRPr sz="1800">
                <a:latin typeface="KlavikaRegular-TF"/>
                <a:cs typeface="KlavikaRegular-TF"/>
              </a:defRPr>
            </a:lvl3pPr>
            <a:lvl4pPr>
              <a:defRPr sz="1800">
                <a:latin typeface="KlavikaRegular-TF"/>
                <a:cs typeface="KlavikaRegular-TF"/>
              </a:defRPr>
            </a:lvl4pPr>
            <a:lvl5pPr>
              <a:defRPr sz="1800">
                <a:latin typeface="KlavikaRegular-TF"/>
                <a:cs typeface="KlavikaRegular-TF"/>
              </a:defRPr>
            </a:lvl5pPr>
          </a:lstStyle>
          <a:p>
            <a:pPr lvl="0"/>
            <a:r>
              <a:rPr lang="de-DE" dirty="0"/>
              <a:t>Fließtext </a:t>
            </a:r>
          </a:p>
          <a:p>
            <a:pPr lvl="0"/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02686" y="1305169"/>
            <a:ext cx="11565466" cy="70338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576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ae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2388" y="1600203"/>
            <a:ext cx="11575875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  <a:lvl2pPr>
              <a:defRPr>
                <a:solidFill>
                  <a:srgbClr val="3D3D3C"/>
                </a:solidFill>
              </a:defRPr>
            </a:lvl2pPr>
            <a:lvl3pPr>
              <a:defRPr>
                <a:solidFill>
                  <a:srgbClr val="3D3D3C"/>
                </a:solidFill>
              </a:defRPr>
            </a:lvl3pPr>
            <a:lvl4pPr>
              <a:defRPr>
                <a:solidFill>
                  <a:srgbClr val="3D3D3C"/>
                </a:solidFill>
              </a:defRPr>
            </a:lvl4pPr>
            <a:lvl5pPr>
              <a:defRPr>
                <a:solidFill>
                  <a:srgbClr val="3D3D3C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1619844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0545" y="5445859"/>
            <a:ext cx="11712000" cy="521294"/>
          </a:xfrm>
          <a:prstGeom prst="rect">
            <a:avLst/>
          </a:prstGeom>
          <a:solidFill>
            <a:schemeClr val="bg1"/>
          </a:solidFill>
        </p:spPr>
        <p:txBody>
          <a:bodyPr lIns="0" bIns="93600" anchor="ctr" anchorCtr="0">
            <a:normAutofit/>
          </a:bodyPr>
          <a:lstStyle>
            <a:lvl1pPr marL="0" indent="0">
              <a:buNone/>
              <a:defRPr sz="2400">
                <a:solidFill>
                  <a:srgbClr val="3D3D3C"/>
                </a:solidFill>
                <a:latin typeface="KlavikaRegular-TF"/>
                <a:cs typeface="KlavikaRegular-TF"/>
              </a:defRPr>
            </a:lvl1pPr>
          </a:lstStyle>
          <a:p>
            <a:pPr lvl="0"/>
            <a:r>
              <a:rPr lang="de-DE" dirty="0"/>
              <a:t>Bild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015" y="5903878"/>
            <a:ext cx="12192000" cy="954125"/>
          </a:xfrm>
          <a:prstGeom prst="rect">
            <a:avLst/>
          </a:prstGeom>
        </p:spPr>
        <p:txBody>
          <a:bodyPr lIns="360000">
            <a:normAutofit/>
          </a:bodyPr>
          <a:lstStyle>
            <a:lvl1pPr marL="0" indent="0">
              <a:buNone/>
              <a:defRPr sz="24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Bildtext</a:t>
            </a:r>
            <a:br>
              <a:rPr lang="de-DE" dirty="0"/>
            </a:br>
            <a:r>
              <a:rPr lang="de-DE" dirty="0"/>
              <a:t>Bildtext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29389" y="5381279"/>
            <a:ext cx="265387" cy="521294"/>
          </a:xfrm>
          <a:prstGeom prst="rect">
            <a:avLst/>
          </a:prstGeom>
          <a:solidFill>
            <a:srgbClr val="3D3D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extfeld 12"/>
          <p:cNvSpPr txBox="1"/>
          <p:nvPr userDrawn="1"/>
        </p:nvSpPr>
        <p:spPr>
          <a:xfrm>
            <a:off x="206348" y="5376962"/>
            <a:ext cx="324197" cy="773997"/>
          </a:xfrm>
          <a:prstGeom prst="rect">
            <a:avLst/>
          </a:prstGeom>
          <a:solidFill>
            <a:schemeClr val="bg1"/>
          </a:solidFill>
        </p:spPr>
        <p:txBody>
          <a:bodyPr wrap="square" tIns="327600" bIns="0" rtlCol="0" anchor="t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b="1" i="0" u="none" strike="noStrike" kern="1200" baseline="30000" dirty="0">
                <a:solidFill>
                  <a:srgbClr val="D51317"/>
                </a:solidFill>
                <a:latin typeface="KlavikaRegular-TF"/>
                <a:cs typeface="KlavikaRegular-TF"/>
              </a:rPr>
              <a:t>[</a:t>
            </a:r>
            <a:endParaRPr lang="de-DE" sz="1800" dirty="0">
              <a:solidFill>
                <a:srgbClr val="D51317"/>
              </a:solidFill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9015" y="4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8075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21763" y="0"/>
            <a:ext cx="616569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82334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334457" y="1615031"/>
            <a:ext cx="6333779" cy="3784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7065435" y="1614488"/>
            <a:ext cx="4806951" cy="3784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  <a:lvl2pPr>
              <a:defRPr>
                <a:solidFill>
                  <a:srgbClr val="3D3D3C"/>
                </a:solidFill>
              </a:defRPr>
            </a:lvl2pPr>
            <a:lvl3pPr>
              <a:defRPr>
                <a:solidFill>
                  <a:srgbClr val="3D3D3C"/>
                </a:solidFill>
              </a:defRPr>
            </a:lvl3pPr>
            <a:lvl4pPr>
              <a:defRPr>
                <a:solidFill>
                  <a:srgbClr val="3D3D3C"/>
                </a:solidFill>
              </a:defRPr>
            </a:lvl4pPr>
            <a:lvl5pPr>
              <a:defRPr>
                <a:solidFill>
                  <a:srgbClr val="3D3D3C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9683773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5518541" y="1615031"/>
            <a:ext cx="6333779" cy="3784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2686" y="1614488"/>
            <a:ext cx="4806951" cy="3784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  <a:lvl2pPr>
              <a:defRPr>
                <a:solidFill>
                  <a:srgbClr val="3D3D3C"/>
                </a:solidFill>
              </a:defRPr>
            </a:lvl2pPr>
            <a:lvl3pPr>
              <a:defRPr>
                <a:solidFill>
                  <a:srgbClr val="3D3D3C"/>
                </a:solidFill>
              </a:defRPr>
            </a:lvl3pPr>
            <a:lvl4pPr>
              <a:defRPr>
                <a:solidFill>
                  <a:srgbClr val="3D3D3C"/>
                </a:solidFill>
              </a:defRPr>
            </a:lvl4pPr>
            <a:lvl5pPr>
              <a:defRPr>
                <a:solidFill>
                  <a:srgbClr val="3D3D3C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2541912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Bild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302685" y="3037417"/>
            <a:ext cx="11592983" cy="314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2684" y="1344083"/>
            <a:ext cx="11592981" cy="15557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3D3D3C"/>
                </a:solidFill>
                <a:latin typeface="KlavikaRegular-TF"/>
                <a:cs typeface="KlavikaRegular-TF"/>
              </a:defRPr>
            </a:lvl1pPr>
          </a:lstStyle>
          <a:p>
            <a:pPr lvl="0"/>
            <a:r>
              <a:rPr lang="de-DE" dirty="0"/>
              <a:t>Text ohne Rahm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569395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251700" y="1928630"/>
            <a:ext cx="5747621" cy="31046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3"/>
          </p:nvPr>
        </p:nvSpPr>
        <p:spPr>
          <a:xfrm>
            <a:off x="6202523" y="1924231"/>
            <a:ext cx="5747621" cy="31046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787129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ae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2388" y="1600203"/>
            <a:ext cx="1157587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238625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Video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5" hasCustomPrompt="1"/>
          </p:nvPr>
        </p:nvSpPr>
        <p:spPr>
          <a:xfrm>
            <a:off x="302685" y="1417638"/>
            <a:ext cx="11565467" cy="4678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0284126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lock auf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1219199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1339573" y="4321786"/>
            <a:ext cx="7130223" cy="1871663"/>
          </a:xfrm>
          <a:prstGeom prst="rect">
            <a:avLst/>
          </a:prstGeom>
          <a:solidFill>
            <a:schemeClr val="bg1"/>
          </a:solidFill>
        </p:spPr>
        <p:txBody>
          <a:bodyPr lIns="72000" tIns="0" bIns="0" anchor="ctr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>
                <a:solidFill>
                  <a:srgbClr val="3D3D3C"/>
                </a:solidFill>
                <a:latin typeface="Klavika Bold Bold"/>
                <a:cs typeface="Klavika Bold Bold"/>
              </a:defRPr>
            </a:lvl1pPr>
          </a:lstStyle>
          <a:p>
            <a:pPr lvl="0"/>
            <a:r>
              <a:rPr lang="de-DE" dirty="0"/>
              <a:t>TEXTBLOCK</a:t>
            </a:r>
            <a:br>
              <a:rPr lang="de-DE" dirty="0"/>
            </a:br>
            <a:r>
              <a:rPr lang="de-DE" dirty="0"/>
              <a:t>AUF HINTERGRUND</a:t>
            </a:r>
          </a:p>
        </p:txBody>
      </p:sp>
      <p:sp>
        <p:nvSpPr>
          <p:cNvPr id="14" name="Rechteck 13"/>
          <p:cNvSpPr/>
          <p:nvPr userDrawn="1"/>
        </p:nvSpPr>
        <p:spPr>
          <a:xfrm>
            <a:off x="599348" y="4047935"/>
            <a:ext cx="752861" cy="18716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1" name="Rechteck 10"/>
          <p:cNvSpPr/>
          <p:nvPr userDrawn="1"/>
        </p:nvSpPr>
        <p:spPr>
          <a:xfrm>
            <a:off x="599348" y="4285092"/>
            <a:ext cx="752861" cy="2308324"/>
          </a:xfrm>
          <a:prstGeom prst="rect">
            <a:avLst/>
          </a:prstGeom>
        </p:spPr>
        <p:txBody>
          <a:bodyPr wrap="square" tIns="0" bIns="0" anchor="ctr" anchorCtr="0">
            <a:spAutoFit/>
          </a:bodyPr>
          <a:lstStyle/>
          <a:p>
            <a:r>
              <a:rPr lang="de-DE" sz="15000" b="1" baseline="30000" dirty="0">
                <a:solidFill>
                  <a:srgbClr val="D51317"/>
                </a:solidFill>
                <a:latin typeface="Klavika Bold Bold"/>
                <a:cs typeface="Klavika Bold Bold"/>
              </a:rPr>
              <a:t>[</a:t>
            </a:r>
            <a:endParaRPr lang="de-DE" sz="15000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22555" y="1744064"/>
            <a:ext cx="1781884" cy="167723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4800941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2388" y="1610315"/>
            <a:ext cx="5692013" cy="45158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>
              <a:defRPr sz="2800">
                <a:solidFill>
                  <a:srgbClr val="3D3D3C"/>
                </a:solidFill>
              </a:defRPr>
            </a:lvl1pPr>
            <a:lvl2pPr>
              <a:defRPr sz="2400">
                <a:solidFill>
                  <a:srgbClr val="3D3D3C"/>
                </a:solidFill>
              </a:defRPr>
            </a:lvl2pPr>
            <a:lvl3pPr>
              <a:defRPr sz="2000">
                <a:solidFill>
                  <a:srgbClr val="3D3D3C"/>
                </a:solidFill>
              </a:defRPr>
            </a:lvl3pPr>
            <a:lvl4pPr>
              <a:defRPr sz="1800">
                <a:solidFill>
                  <a:srgbClr val="3D3D3C"/>
                </a:solidFill>
              </a:defRPr>
            </a:lvl4pPr>
            <a:lvl5pPr>
              <a:defRPr sz="1800">
                <a:solidFill>
                  <a:srgbClr val="3D3D3C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10315"/>
            <a:ext cx="5640981" cy="45158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>
              <a:defRPr sz="2800">
                <a:solidFill>
                  <a:srgbClr val="3D3D3C"/>
                </a:solidFill>
              </a:defRPr>
            </a:lvl1pPr>
            <a:lvl2pPr>
              <a:defRPr sz="2400">
                <a:solidFill>
                  <a:srgbClr val="3D3D3C"/>
                </a:solidFill>
              </a:defRPr>
            </a:lvl2pPr>
            <a:lvl3pPr>
              <a:defRPr sz="2000">
                <a:solidFill>
                  <a:srgbClr val="3D3D3C"/>
                </a:solidFill>
              </a:defRPr>
            </a:lvl3pPr>
            <a:lvl4pPr>
              <a:defRPr sz="1800">
                <a:solidFill>
                  <a:srgbClr val="3D3D3C"/>
                </a:solidFill>
              </a:defRPr>
            </a:lvl4pPr>
            <a:lvl5pPr>
              <a:defRPr sz="1800">
                <a:solidFill>
                  <a:srgbClr val="3D3D3C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Seite für ZWEI Inhalte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3887244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2388" y="1610315"/>
            <a:ext cx="5694131" cy="451585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400">
                <a:solidFill>
                  <a:srgbClr val="3D3D3C"/>
                </a:solidFill>
              </a:defRPr>
            </a:lvl1pPr>
            <a:lvl2pPr>
              <a:defRPr sz="2000">
                <a:solidFill>
                  <a:srgbClr val="3D3D3C"/>
                </a:solidFill>
              </a:defRPr>
            </a:lvl2pPr>
            <a:lvl3pPr>
              <a:defRPr sz="1800">
                <a:solidFill>
                  <a:srgbClr val="3D3D3C"/>
                </a:solidFill>
              </a:defRPr>
            </a:lvl3pPr>
            <a:lvl4pPr>
              <a:defRPr sz="1600">
                <a:solidFill>
                  <a:srgbClr val="3D3D3C"/>
                </a:solidFill>
              </a:defRPr>
            </a:lvl4pPr>
            <a:lvl5pPr>
              <a:defRPr sz="1600">
                <a:solidFill>
                  <a:srgbClr val="3D3D3C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9" y="1610315"/>
            <a:ext cx="5660335" cy="451585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2400">
                <a:solidFill>
                  <a:srgbClr val="3D3D3C"/>
                </a:solidFill>
              </a:defRPr>
            </a:lvl1pPr>
            <a:lvl2pPr>
              <a:defRPr sz="2000">
                <a:solidFill>
                  <a:srgbClr val="3D3D3C"/>
                </a:solidFill>
              </a:defRPr>
            </a:lvl2pPr>
            <a:lvl3pPr>
              <a:defRPr sz="1800">
                <a:solidFill>
                  <a:srgbClr val="3D3D3C"/>
                </a:solidFill>
              </a:defRPr>
            </a:lvl3pPr>
            <a:lvl4pPr>
              <a:defRPr sz="1600">
                <a:solidFill>
                  <a:srgbClr val="3D3D3C"/>
                </a:solidFill>
              </a:defRPr>
            </a:lvl4pPr>
            <a:lvl5pPr>
              <a:defRPr sz="1600">
                <a:solidFill>
                  <a:srgbClr val="3D3D3C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>
                <a:solidFill>
                  <a:srgbClr val="3D3D3C"/>
                </a:solidFill>
              </a:defRPr>
            </a:lvl1pPr>
          </a:lstStyle>
          <a:p>
            <a:pPr algn="l"/>
            <a:r>
              <a:rPr lang="de-DE" dirty="0"/>
              <a:t>Seite für ZWEI Inhalte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11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253890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tzhalter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sz="quarter" idx="15"/>
          </p:nvPr>
        </p:nvSpPr>
        <p:spPr>
          <a:xfrm>
            <a:off x="302686" y="1100139"/>
            <a:ext cx="11550649" cy="49746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D3D3C"/>
                </a:solidFill>
              </a:defRPr>
            </a:lvl1pPr>
          </a:lstStyle>
          <a:p>
            <a:r>
              <a:rPr lang="de-DE" dirty="0"/>
              <a:t>Tabelle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813703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52350696"/>
              </p:ext>
            </p:extLst>
          </p:nvPr>
        </p:nvGraphicFramePr>
        <p:xfrm>
          <a:off x="302684" y="1291166"/>
          <a:ext cx="11568792" cy="4341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8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81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2361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D40E14"/>
                          </a:solidFill>
                          <a:latin typeface="KlavikaRegular-TF"/>
                          <a:cs typeface="KlavikaRegular-TF"/>
                        </a:rPr>
                        <a:t>Spalt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3D3D3C"/>
                          </a:solidFill>
                          <a:latin typeface="KlavikaRegular-TF"/>
                          <a:cs typeface="KlavikaRegular-TF"/>
                        </a:rPr>
                        <a:t>Zelle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361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tx1"/>
                          </a:solidFill>
                          <a:latin typeface="KlavikaRegular-TF"/>
                          <a:cs typeface="KlavikaRegular-TF"/>
                        </a:rPr>
                        <a:t>Ergebnis</a:t>
                      </a:r>
                    </a:p>
                  </a:txBody>
                  <a:tcPr marL="173532" marR="173532" marT="65074" marB="65074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2171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i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bg1"/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solidFill>
                  <a:srgbClr val="3D3D3C"/>
                </a:solidFill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1084840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_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2154347" y="2663640"/>
            <a:ext cx="9510543" cy="1066298"/>
          </a:xfrm>
          <a:prstGeom prst="rect">
            <a:avLst/>
          </a:prstGeom>
        </p:spPr>
        <p:txBody>
          <a:bodyPr vert="horz" tIns="0" bIns="0" anchor="b" anchorCtr="0"/>
          <a:lstStyle>
            <a:lvl1pPr marL="0" indent="0">
              <a:lnSpc>
                <a:spcPct val="80000"/>
              </a:lnSpc>
              <a:buNone/>
              <a:defRPr sz="4400"/>
            </a:lvl1pPr>
          </a:lstStyle>
          <a:p>
            <a:pPr lvl="0"/>
            <a:r>
              <a:rPr lang="de-DE" dirty="0"/>
              <a:t>MUSTERTEXT </a:t>
            </a:r>
            <a:br>
              <a:rPr lang="de-DE" dirty="0"/>
            </a:br>
            <a:r>
              <a:rPr lang="de-DE" dirty="0"/>
              <a:t>MUSTERTEXT</a:t>
            </a:r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54345" y="3832578"/>
            <a:ext cx="9434579" cy="595375"/>
          </a:xfrm>
          <a:prstGeom prst="rect">
            <a:avLst/>
          </a:prstGeom>
        </p:spPr>
        <p:txBody>
          <a:bodyPr lIns="108000" tIns="0" bIns="0" anchor="ctr" anchorCtr="0">
            <a:normAutofit/>
          </a:bodyPr>
          <a:lstStyle>
            <a:lvl1pPr marL="0" indent="0">
              <a:buNone/>
              <a:defRPr sz="18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Bildtext</a:t>
            </a:r>
            <a:br>
              <a:rPr lang="de-DE" dirty="0"/>
            </a:br>
            <a:r>
              <a:rPr lang="de-DE" dirty="0"/>
              <a:t>Bildtext</a:t>
            </a:r>
          </a:p>
        </p:txBody>
      </p:sp>
    </p:spTree>
    <p:extLst>
      <p:ext uri="{BB962C8B-B14F-4D97-AF65-F5344CB8AC3E}">
        <p14:creationId xmlns:p14="http://schemas.microsoft.com/office/powerpoint/2010/main" val="21008317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2116366" y="2707885"/>
            <a:ext cx="9510543" cy="1066298"/>
          </a:xfrm>
          <a:prstGeom prst="rect">
            <a:avLst/>
          </a:prstGeom>
        </p:spPr>
        <p:txBody>
          <a:bodyPr vert="horz" tIns="0" bIns="0" anchor="b" anchorCtr="0"/>
          <a:lstStyle>
            <a:lvl1pPr marL="0" indent="0">
              <a:lnSpc>
                <a:spcPct val="80000"/>
              </a:lnSpc>
              <a:buNone/>
              <a:defRPr sz="4400"/>
            </a:lvl1pPr>
          </a:lstStyle>
          <a:p>
            <a:pPr lvl="0"/>
            <a:r>
              <a:rPr lang="de-DE" dirty="0"/>
              <a:t>MUSTERTEXT </a:t>
            </a:r>
            <a:br>
              <a:rPr lang="de-DE" dirty="0"/>
            </a:br>
            <a:r>
              <a:rPr lang="de-DE" dirty="0"/>
              <a:t>MUSTERTEXT</a:t>
            </a:r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16365" y="3862075"/>
            <a:ext cx="9434579" cy="595375"/>
          </a:xfrm>
          <a:prstGeom prst="rect">
            <a:avLst/>
          </a:prstGeom>
        </p:spPr>
        <p:txBody>
          <a:bodyPr lIns="108000" tIns="0" bIns="0" anchor="ctr" anchorCtr="0">
            <a:normAutofit/>
          </a:bodyPr>
          <a:lstStyle>
            <a:lvl1pPr marL="0" indent="0">
              <a:buNone/>
              <a:defRPr sz="18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Bildtext</a:t>
            </a:r>
            <a:br>
              <a:rPr lang="de-DE" dirty="0"/>
            </a:br>
            <a:r>
              <a:rPr lang="de-DE" dirty="0"/>
              <a:t>Bildtext</a:t>
            </a:r>
          </a:p>
        </p:txBody>
      </p:sp>
    </p:spTree>
    <p:extLst>
      <p:ext uri="{BB962C8B-B14F-4D97-AF65-F5344CB8AC3E}">
        <p14:creationId xmlns:p14="http://schemas.microsoft.com/office/powerpoint/2010/main" val="13958628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_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2116366" y="2713855"/>
            <a:ext cx="9510543" cy="1066298"/>
          </a:xfrm>
          <a:prstGeom prst="rect">
            <a:avLst/>
          </a:prstGeom>
        </p:spPr>
        <p:txBody>
          <a:bodyPr vert="horz" tIns="0" bIns="0" anchor="b" anchorCtr="0"/>
          <a:lstStyle>
            <a:lvl1pPr marL="0" indent="0">
              <a:lnSpc>
                <a:spcPct val="80000"/>
              </a:lnSpc>
              <a:buNone/>
              <a:defRPr sz="4400"/>
            </a:lvl1pPr>
          </a:lstStyle>
          <a:p>
            <a:pPr lvl="0"/>
            <a:r>
              <a:rPr lang="de-DE" dirty="0"/>
              <a:t>MUSTERTEXT </a:t>
            </a:r>
            <a:br>
              <a:rPr lang="de-DE" dirty="0"/>
            </a:br>
            <a:r>
              <a:rPr lang="de-DE" dirty="0"/>
              <a:t>MUSTERTEXT</a:t>
            </a:r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16365" y="3862075"/>
            <a:ext cx="9434579" cy="595375"/>
          </a:xfrm>
          <a:prstGeom prst="rect">
            <a:avLst/>
          </a:prstGeom>
        </p:spPr>
        <p:txBody>
          <a:bodyPr lIns="108000" tIns="0" bIns="0" anchor="ctr" anchorCtr="0">
            <a:normAutofit/>
          </a:bodyPr>
          <a:lstStyle>
            <a:lvl1pPr marL="0" indent="0">
              <a:buNone/>
              <a:defRPr sz="18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Bildtext</a:t>
            </a:r>
            <a:br>
              <a:rPr lang="de-DE" dirty="0"/>
            </a:br>
            <a:r>
              <a:rPr lang="de-DE" dirty="0"/>
              <a:t>Bildtext</a:t>
            </a:r>
          </a:p>
        </p:txBody>
      </p:sp>
    </p:spTree>
    <p:extLst>
      <p:ext uri="{BB962C8B-B14F-4D97-AF65-F5344CB8AC3E}">
        <p14:creationId xmlns:p14="http://schemas.microsoft.com/office/powerpoint/2010/main" val="33762841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0545" y="5445859"/>
            <a:ext cx="11712000" cy="521294"/>
          </a:xfrm>
          <a:prstGeom prst="rect">
            <a:avLst/>
          </a:prstGeom>
          <a:solidFill>
            <a:srgbClr val="3D3D3C"/>
          </a:solidFill>
        </p:spPr>
        <p:txBody>
          <a:bodyPr lIns="0" bIns="93600" anchor="ctr" anchorCtr="0">
            <a:normAutofit/>
          </a:bodyPr>
          <a:lstStyle>
            <a:lvl1pPr marL="0" indent="0">
              <a:buNone/>
              <a:defRPr sz="2400">
                <a:latin typeface="KlavikaRegular-TF"/>
                <a:cs typeface="KlavikaRegular-TF"/>
              </a:defRPr>
            </a:lvl1pPr>
          </a:lstStyle>
          <a:p>
            <a:pPr lvl="0"/>
            <a:r>
              <a:rPr lang="de-DE" dirty="0"/>
              <a:t>Bildtit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015" y="5903878"/>
            <a:ext cx="12192000" cy="954125"/>
          </a:xfrm>
          <a:prstGeom prst="rect">
            <a:avLst/>
          </a:prstGeom>
        </p:spPr>
        <p:txBody>
          <a:bodyPr lIns="360000">
            <a:normAutofit/>
          </a:bodyPr>
          <a:lstStyle>
            <a:lvl1pPr marL="0" indent="0">
              <a:buNone/>
              <a:defRPr sz="24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Bildtext</a:t>
            </a:r>
            <a:br>
              <a:rPr lang="de-DE" dirty="0"/>
            </a:br>
            <a:r>
              <a:rPr lang="de-DE" dirty="0"/>
              <a:t>Bildtext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29389" y="5381279"/>
            <a:ext cx="265387" cy="521294"/>
          </a:xfrm>
          <a:prstGeom prst="rect">
            <a:avLst/>
          </a:prstGeom>
          <a:solidFill>
            <a:srgbClr val="3D3D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extfeld 12"/>
          <p:cNvSpPr txBox="1"/>
          <p:nvPr userDrawn="1"/>
        </p:nvSpPr>
        <p:spPr>
          <a:xfrm>
            <a:off x="206348" y="5376962"/>
            <a:ext cx="324197" cy="773997"/>
          </a:xfrm>
          <a:prstGeom prst="rect">
            <a:avLst/>
          </a:prstGeom>
          <a:noFill/>
        </p:spPr>
        <p:txBody>
          <a:bodyPr wrap="square" tIns="327600" bIns="0" rtlCol="0" anchor="t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800" b="1" i="0" u="none" strike="noStrike" kern="1200" baseline="30000" dirty="0">
                <a:solidFill>
                  <a:srgbClr val="D51317"/>
                </a:solidFill>
                <a:latin typeface="KlavikaRegular-TF"/>
                <a:cs typeface="KlavikaRegular-TF"/>
              </a:rPr>
              <a:t>[</a:t>
            </a:r>
            <a:endParaRPr lang="de-DE" sz="1800" dirty="0">
              <a:solidFill>
                <a:srgbClr val="D51317"/>
              </a:solidFill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9015" y="4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66646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Piktos_mit_weis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939" y="2718897"/>
            <a:ext cx="3703558" cy="109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8831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996" y="2751310"/>
            <a:ext cx="4682437" cy="136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5573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und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812" y="3032640"/>
            <a:ext cx="2905986" cy="847413"/>
          </a:xfrm>
          <a:prstGeom prst="rect">
            <a:avLst/>
          </a:prstGeom>
        </p:spPr>
      </p:pic>
      <p:pic>
        <p:nvPicPr>
          <p:cNvPr id="5" name="Bild 4" descr="Piktos_mit_weis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564" y="3072796"/>
            <a:ext cx="1736559" cy="46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008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416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21763" y="0"/>
            <a:ext cx="616569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210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334457" y="1615031"/>
            <a:ext cx="6333779" cy="3784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7065435" y="1614488"/>
            <a:ext cx="4806951" cy="378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452390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5518541" y="1615031"/>
            <a:ext cx="6333779" cy="3784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2686" y="1614488"/>
            <a:ext cx="4806951" cy="378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213994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Bild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302685" y="3037417"/>
            <a:ext cx="11592983" cy="314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02684" y="1344083"/>
            <a:ext cx="11592981" cy="15557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latin typeface="KlavikaRegular-TF"/>
                <a:cs typeface="KlavikaRegular-TF"/>
              </a:defRPr>
            </a:lvl1pPr>
          </a:lstStyle>
          <a:p>
            <a:pPr lvl="0"/>
            <a:r>
              <a:rPr lang="de-DE" dirty="0"/>
              <a:t>Text ohne Rahm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02686" y="237901"/>
            <a:ext cx="8163983" cy="974725"/>
          </a:xfrm>
          <a:prstGeom prst="rect">
            <a:avLst/>
          </a:prstGeom>
        </p:spPr>
        <p:txBody>
          <a:bodyPr tIns="0" bIns="0"/>
          <a:lstStyle>
            <a:lvl1pPr marL="0" indent="0" algn="l">
              <a:buNone/>
              <a:defRPr/>
            </a:lvl1pPr>
          </a:lstStyle>
          <a:p>
            <a:pPr algn="l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zweizeilig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380617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251700" y="1928630"/>
            <a:ext cx="5747621" cy="310462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3"/>
          </p:nvPr>
        </p:nvSpPr>
        <p:spPr>
          <a:xfrm>
            <a:off x="6202523" y="1924231"/>
            <a:ext cx="5747621" cy="310462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02684" y="6305938"/>
            <a:ext cx="9463616" cy="350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tIns="0" bIns="0" anchor="ctr" anchorCtr="0">
            <a:normAutofit/>
          </a:bodyPr>
          <a:lstStyle>
            <a:lvl1pPr marL="0" indent="0">
              <a:buNone/>
              <a:defRPr sz="1000" b="0" i="0">
                <a:latin typeface="KlavikaLight-Plain"/>
                <a:cs typeface="KlavikaLight-Plain"/>
              </a:defRPr>
            </a:lvl1pPr>
          </a:lstStyle>
          <a:p>
            <a:pPr lvl="0"/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814425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3.jp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D3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icons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738" y="6306542"/>
            <a:ext cx="1241526" cy="340224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4503" y="240619"/>
            <a:ext cx="2283760" cy="66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3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1" r:id="rId2"/>
    <p:sldLayoutId id="2147483650" r:id="rId3"/>
    <p:sldLayoutId id="2147483651" r:id="rId4"/>
    <p:sldLayoutId id="2147483699" r:id="rId5"/>
    <p:sldLayoutId id="2147483701" r:id="rId6"/>
    <p:sldLayoutId id="2147483702" r:id="rId7"/>
    <p:sldLayoutId id="2147483710" r:id="rId8"/>
    <p:sldLayoutId id="2147483700" r:id="rId9"/>
    <p:sldLayoutId id="2147483703" r:id="rId10"/>
    <p:sldLayoutId id="2147483659" r:id="rId11"/>
    <p:sldLayoutId id="2147483652" r:id="rId12"/>
    <p:sldLayoutId id="2147483653" r:id="rId13"/>
    <p:sldLayoutId id="2147483654" r:id="rId14"/>
    <p:sldLayoutId id="2147483712" r:id="rId15"/>
    <p:sldLayoutId id="2147483711" r:id="rId16"/>
    <p:sldLayoutId id="2147483662" r:id="rId17"/>
    <p:sldLayoutId id="2147483734" r:id="rId18"/>
    <p:sldLayoutId id="2147483735" r:id="rId19"/>
    <p:sldLayoutId id="2147483736" r:id="rId20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8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1pPr>
      <a:lvl2pPr marL="800100" indent="-3429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4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3pPr>
      <a:lvl4pPr marL="1657350" indent="-28575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18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4pPr>
      <a:lvl5pPr marL="2114550" indent="-28575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16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icons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738" y="6306542"/>
            <a:ext cx="1241526" cy="340224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4503" y="261670"/>
            <a:ext cx="2283760" cy="62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86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8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1pPr>
      <a:lvl2pPr marL="800100" indent="-3429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4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3pPr>
      <a:lvl4pPr marL="1657350" indent="-28575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18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4pPr>
      <a:lvl5pPr marL="2114550" indent="-285750" algn="l" defTabSz="457200" rtl="0" eaLnBrk="1" latinLnBrk="0" hangingPunct="1">
        <a:spcBef>
          <a:spcPct val="20000"/>
        </a:spcBef>
        <a:buClr>
          <a:srgbClr val="D40E14"/>
        </a:buClr>
        <a:buFont typeface="Wingdings" panose="05000000000000000000" pitchFamily="2" charset="2"/>
        <a:buChar char="§"/>
        <a:defRPr sz="1600" b="0" i="0" kern="1200">
          <a:solidFill>
            <a:schemeClr val="bg1"/>
          </a:solidFill>
          <a:latin typeface="Klavika Regular" panose="02000506040000020004" pitchFamily="50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D3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23820" y="3537300"/>
            <a:ext cx="45878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600" b="1" i="0" u="none" strike="noStrike" kern="1200" baseline="30000" dirty="0">
                <a:solidFill>
                  <a:srgbClr val="D51317"/>
                </a:solidFill>
                <a:latin typeface="Klavika Bold Bold"/>
                <a:ea typeface="+mn-ea"/>
                <a:cs typeface="Klavika Bold Bold"/>
              </a:rPr>
              <a:t>[</a:t>
            </a:r>
            <a:endParaRPr lang="de-DE" sz="1800" dirty="0"/>
          </a:p>
        </p:txBody>
      </p:sp>
      <p:pic>
        <p:nvPicPr>
          <p:cNvPr id="4" name="Bild 6" descr="icon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738" y="6306542"/>
            <a:ext cx="1241526" cy="34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13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600" b="1" i="0" kern="1200">
          <a:solidFill>
            <a:schemeClr val="bg1"/>
          </a:solidFill>
          <a:latin typeface="KlavikaMedium-TF"/>
          <a:ea typeface="+mn-ea"/>
          <a:cs typeface="+mn-cs"/>
        </a:defRPr>
      </a:lvl1pPr>
      <a:lvl2pPr marL="9144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800" b="1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400" b="1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1717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D3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23820" y="3537300"/>
            <a:ext cx="45878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600" b="1" i="0" u="none" strike="noStrike" kern="1200" baseline="30000" dirty="0">
                <a:solidFill>
                  <a:srgbClr val="009EE3"/>
                </a:solidFill>
                <a:latin typeface="Klavika Bold Bold"/>
                <a:ea typeface="+mn-ea"/>
                <a:cs typeface="Klavika Bold Bold"/>
              </a:rPr>
              <a:t>[</a:t>
            </a:r>
            <a:endParaRPr lang="de-DE" sz="1800" dirty="0">
              <a:solidFill>
                <a:srgbClr val="009EE3"/>
              </a:solidFill>
            </a:endParaRPr>
          </a:p>
        </p:txBody>
      </p:sp>
      <p:pic>
        <p:nvPicPr>
          <p:cNvPr id="4" name="Bild 6" descr="icon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738" y="6306542"/>
            <a:ext cx="1241526" cy="34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587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600" b="1" i="0" kern="1200">
          <a:solidFill>
            <a:schemeClr val="bg1"/>
          </a:solidFill>
          <a:latin typeface="KlavikaMedium-TF"/>
          <a:ea typeface="+mn-ea"/>
          <a:cs typeface="+mn-cs"/>
        </a:defRPr>
      </a:lvl1pPr>
      <a:lvl2pPr marL="9144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800" b="1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400" b="1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1717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D3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23820" y="3537300"/>
            <a:ext cx="458780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600" b="1" i="0" u="none" strike="noStrike" kern="1200" baseline="30000" dirty="0">
                <a:solidFill>
                  <a:srgbClr val="95C11C"/>
                </a:solidFill>
                <a:latin typeface="Klavika Bold Bold"/>
                <a:ea typeface="+mn-ea"/>
                <a:cs typeface="Klavika Bold Bold"/>
              </a:rPr>
              <a:t>[</a:t>
            </a:r>
            <a:endParaRPr lang="de-DE" sz="1800" dirty="0">
              <a:solidFill>
                <a:srgbClr val="95C11C"/>
              </a:solidFill>
            </a:endParaRPr>
          </a:p>
        </p:txBody>
      </p:sp>
      <p:pic>
        <p:nvPicPr>
          <p:cNvPr id="4" name="Bild 6" descr="icon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738" y="6306542"/>
            <a:ext cx="1241526" cy="34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200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600" b="1" i="0" kern="1200">
          <a:solidFill>
            <a:schemeClr val="bg1"/>
          </a:solidFill>
          <a:latin typeface="KlavikaMedium-TF"/>
          <a:ea typeface="+mn-ea"/>
          <a:cs typeface="+mn-cs"/>
        </a:defRPr>
      </a:lvl1pPr>
      <a:lvl2pPr marL="9144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800" b="1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400" b="1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1717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D3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85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9" r:id="rId2"/>
    <p:sldLayoutId id="2147483680" r:id="rId3"/>
    <p:sldLayoutId id="2147483686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FFFFFF"/>
          </a:solidFill>
          <a:latin typeface="KlavikaMedium-TF"/>
          <a:ea typeface="+mj-ea"/>
          <a:cs typeface="+mj-cs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600" b="1" i="0" kern="1200">
          <a:solidFill>
            <a:schemeClr val="bg1"/>
          </a:solidFill>
          <a:latin typeface="KlavikaMedium-TF"/>
          <a:ea typeface="+mn-ea"/>
          <a:cs typeface="+mn-cs"/>
        </a:defRPr>
      </a:lvl1pPr>
      <a:lvl2pPr marL="914400" indent="-457200" algn="l" defTabSz="457200" rtl="0" eaLnBrk="1" latinLnBrk="0" hangingPunct="1">
        <a:spcBef>
          <a:spcPct val="20000"/>
        </a:spcBef>
        <a:buFont typeface="Wingdings" charset="2"/>
        <a:buChar char="§"/>
        <a:defRPr sz="2800" b="1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2573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400" b="1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7145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1717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b="1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wvdadmin@infotech.cloud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azure.microsoft.com/en-us/pricing/reserved-vm-instances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1074895" y="1456500"/>
            <a:ext cx="9462476" cy="1831851"/>
          </a:xfrm>
        </p:spPr>
        <p:txBody>
          <a:bodyPr>
            <a:normAutofit fontScale="92500" lnSpcReduction="20000"/>
          </a:bodyPr>
          <a:lstStyle/>
          <a:p>
            <a:r>
              <a:rPr lang="de-AT" dirty="0">
                <a:latin typeface="Klavika Bold" panose="02000806040000020004" pitchFamily="50" charset="0"/>
              </a:rPr>
              <a:t>Wirklich alles in der Cloud?</a:t>
            </a:r>
          </a:p>
          <a:p>
            <a:r>
              <a:rPr lang="de-AT" dirty="0">
                <a:latin typeface="Klavika Bold" panose="02000806040000020004" pitchFamily="50" charset="0"/>
              </a:rPr>
              <a:t>Windows Virtual Desktop</a:t>
            </a:r>
          </a:p>
          <a:p>
            <a:r>
              <a:rPr lang="de-AT" sz="2800" dirty="0">
                <a:latin typeface="Klavika Bold" panose="02000806040000020004" pitchFamily="50" charset="0"/>
              </a:rPr>
              <a:t>Sichere und schnelle Bereitstellung virtueller Desktops </a:t>
            </a:r>
            <a:endParaRPr lang="de-DE" sz="2800" dirty="0">
              <a:latin typeface="Klavika Bold" panose="02000806040000020004" pitchFamily="50" charset="0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F1E02DA-EEF0-4931-AC1B-BA23DCC4C2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4827515"/>
            <a:ext cx="9297987" cy="114797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Johannes Nöbauer</a:t>
            </a:r>
          </a:p>
          <a:p>
            <a:r>
              <a:rPr lang="en-US" dirty="0"/>
              <a:t>Director Enterprise Technology Solutions</a:t>
            </a:r>
          </a:p>
          <a:p>
            <a:r>
              <a:rPr lang="en-US" dirty="0"/>
              <a:t>Johannes.Noebauer@infotech.at</a:t>
            </a:r>
          </a:p>
          <a:p>
            <a:r>
              <a:rPr lang="en-US" dirty="0"/>
              <a:t>Twitter: @</a:t>
            </a:r>
            <a:r>
              <a:rPr lang="en-US" dirty="0" err="1"/>
              <a:t>noebauer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6589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12D97F8-F53B-45D6-AEDD-056A3C847654}"/>
              </a:ext>
            </a:extLst>
          </p:cNvPr>
          <p:cNvSpPr txBox="1">
            <a:spLocks/>
          </p:cNvSpPr>
          <p:nvPr/>
        </p:nvSpPr>
        <p:spPr>
          <a:xfrm>
            <a:off x="400176" y="1574460"/>
            <a:ext cx="11173313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4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33149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66298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75162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72691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6010">
              <a:lnSpc>
                <a:spcPct val="100000"/>
              </a:lnSpc>
              <a:defRPr/>
            </a:pPr>
            <a:r>
              <a:rPr lang="de-DE" sz="2000" dirty="0">
                <a:solidFill>
                  <a:srgbClr val="C00000"/>
                </a:solidFill>
              </a:rPr>
              <a:t>Mit der Übernahme von </a:t>
            </a:r>
            <a:r>
              <a:rPr lang="de-DE" sz="2000" dirty="0" err="1">
                <a:solidFill>
                  <a:srgbClr val="C00000"/>
                </a:solidFill>
              </a:rPr>
              <a:t>FSLogix</a:t>
            </a:r>
            <a:r>
              <a:rPr lang="de-DE" sz="2000" dirty="0">
                <a:solidFill>
                  <a:srgbClr val="C00000"/>
                </a:solidFill>
              </a:rPr>
              <a:t> erhalten berechtigte Kunden Zugang zu drei Kerntechnologien</a:t>
            </a:r>
            <a:endParaRPr lang="de-DE" sz="2000" dirty="0">
              <a:solidFill>
                <a:srgbClr val="C00000"/>
              </a:solidFill>
              <a:latin typeface="Segoe UI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0437C4D-6163-48CF-9F0B-77960E220A7A}"/>
              </a:ext>
            </a:extLst>
          </p:cNvPr>
          <p:cNvSpPr/>
          <p:nvPr/>
        </p:nvSpPr>
        <p:spPr>
          <a:xfrm>
            <a:off x="436928" y="2379658"/>
            <a:ext cx="10028088" cy="10964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2">
              <a:lnSpc>
                <a:spcPct val="95000"/>
              </a:lnSpc>
              <a:buSzPct val="90000"/>
              <a:defRPr/>
            </a:pPr>
            <a:r>
              <a:rPr lang="de-DE" sz="2000" dirty="0"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Profile Container</a:t>
            </a:r>
            <a:br>
              <a:rPr lang="de-DE" sz="2400" dirty="0">
                <a:solidFill>
                  <a:schemeClr val="bg1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chemeClr val="bg1"/>
                </a:solidFill>
              </a:rPr>
              <a:t>Ersatz für „Roaming </a:t>
            </a:r>
            <a:r>
              <a:rPr lang="de-DE" sz="1600" dirty="0" err="1">
                <a:solidFill>
                  <a:schemeClr val="bg1"/>
                </a:solidFill>
              </a:rPr>
              <a:t>Profiles</a:t>
            </a:r>
            <a:r>
              <a:rPr lang="de-DE" sz="1600" dirty="0">
                <a:solidFill>
                  <a:schemeClr val="bg1"/>
                </a:solidFill>
              </a:rPr>
              <a:t>“ und Ordnerumleitung. Beschleunigt die Anmelde- und Anwendungsstartzeiten drastisch.</a:t>
            </a:r>
          </a:p>
          <a:p>
            <a:pPr defTabSz="914192">
              <a:lnSpc>
                <a:spcPct val="95000"/>
              </a:lnSpc>
              <a:buSzPct val="90000"/>
              <a:defRPr/>
            </a:pPr>
            <a:endParaRPr lang="de-DE" sz="700" dirty="0">
              <a:solidFill>
                <a:schemeClr val="bg1"/>
              </a:solidFill>
              <a:latin typeface="Segoe UI"/>
            </a:endParaRPr>
          </a:p>
          <a:p>
            <a:pPr defTabSz="914192">
              <a:lnSpc>
                <a:spcPct val="95000"/>
              </a:lnSpc>
              <a:buSzPct val="90000"/>
              <a:defRPr/>
            </a:pPr>
            <a:r>
              <a:rPr lang="de-DE" sz="1600" dirty="0">
                <a:solidFill>
                  <a:schemeClr val="bg1"/>
                </a:solidFill>
              </a:rPr>
              <a:t>Enthält Office 365 Container, die Office-Cachedaten (Outlook OST, OneDrive-Cache, Skype for Business GAL usw.) und Windows Search DB für Benutzern in virtuellen Desktopumgebungen bereitstellt</a:t>
            </a:r>
            <a:endParaRPr lang="de-DE" sz="16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1BD92B5-B4D6-4012-88C4-6FCD778D9CBC}"/>
              </a:ext>
            </a:extLst>
          </p:cNvPr>
          <p:cNvSpPr/>
          <p:nvPr/>
        </p:nvSpPr>
        <p:spPr>
          <a:xfrm>
            <a:off x="436928" y="3955387"/>
            <a:ext cx="10028088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96181">
              <a:spcAft>
                <a:spcPts val="769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App </a:t>
            </a:r>
            <a:r>
              <a:rPr lang="de-DE" sz="2000" dirty="0" err="1"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Masking</a:t>
            </a:r>
            <a:br>
              <a:rPr lang="de-DE" sz="1600" b="1" dirty="0">
                <a:solidFill>
                  <a:schemeClr val="bg1"/>
                </a:solidFill>
                <a:latin typeface="Segoe UI Semilight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chemeClr val="bg1"/>
                </a:solidFill>
              </a:rPr>
              <a:t>Minimieren Sie die Anzahl der „Golden Images“, indem Sie ein einzelnes „Image“ mit allen Anwendungen erstellen. Hervorragende App-Kompatibilität ohne </a:t>
            </a:r>
            <a:r>
              <a:rPr lang="de-DE" sz="1600" noProof="1">
                <a:solidFill>
                  <a:schemeClr val="bg1"/>
                </a:solidFill>
              </a:rPr>
              <a:t>Repaketierung</a:t>
            </a:r>
            <a:r>
              <a:rPr lang="de-DE" sz="1600" dirty="0">
                <a:solidFill>
                  <a:schemeClr val="bg1"/>
                </a:solidFill>
              </a:rPr>
              <a:t>, Sequenzierung, Backend-Infrastruktur oder Virtualisierung. </a:t>
            </a:r>
            <a:endParaRPr lang="de-DE" sz="16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622C9A-12A2-412C-A08E-BEBE63D118E7}"/>
              </a:ext>
            </a:extLst>
          </p:cNvPr>
          <p:cNvSpPr/>
          <p:nvPr/>
        </p:nvSpPr>
        <p:spPr>
          <a:xfrm>
            <a:off x="436928" y="5229495"/>
            <a:ext cx="10028089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96181">
              <a:spcAft>
                <a:spcPts val="769"/>
              </a:spcAft>
              <a:defRPr/>
            </a:pPr>
            <a:r>
              <a:rPr lang="de-DE" sz="2000" dirty="0"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Java</a:t>
            </a:r>
            <a:r>
              <a:rPr lang="de-DE" sz="3200" dirty="0">
                <a:solidFill>
                  <a:schemeClr val="bg1"/>
                </a:solidFill>
                <a:latin typeface="Segoe UI Semilight"/>
                <a:cs typeface="Segoe UI"/>
              </a:rPr>
              <a:t> </a:t>
            </a:r>
            <a:r>
              <a:rPr lang="de-DE" sz="2000" dirty="0" err="1">
                <a:solidFill>
                  <a:schemeClr val="bg1"/>
                </a:solidFill>
                <a:latin typeface="Segoe UI Semibold"/>
                <a:cs typeface="Segoe UI" panose="020B0502040204020203" pitchFamily="34" charset="0"/>
              </a:rPr>
              <a:t>Redirection</a:t>
            </a:r>
            <a:br>
              <a:rPr lang="de-DE" sz="1600" b="1" dirty="0">
                <a:solidFill>
                  <a:schemeClr val="bg1"/>
                </a:solidFill>
                <a:latin typeface="Segoe UI Semilight"/>
                <a:cs typeface="Segoe UI"/>
              </a:rPr>
            </a:br>
            <a:r>
              <a:rPr lang="de-DE" sz="1600" dirty="0">
                <a:solidFill>
                  <a:schemeClr val="bg1"/>
                </a:solidFill>
              </a:rPr>
              <a:t>Schützt das Unternehmen vor Sicherheitslücken mehrerer installierter Java-Versionen, indem bestimmte Versionen einzelnen Apps oder Websites zugeordnet werden.</a:t>
            </a:r>
            <a:endParaRPr lang="de-DE" sz="16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A23DDB-5E24-44C6-BB99-B938A025D0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FSLogix</a:t>
            </a:r>
            <a:r>
              <a:rPr lang="de-DE" dirty="0"/>
              <a:t> Technologien</a:t>
            </a:r>
            <a:endParaRPr lang="de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521E24-05F2-4858-8428-400BF45FD5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14804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/>
      <p:bldP spid="165" grpId="0"/>
      <p:bldP spid="16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6AEA4-352F-40F2-9AAE-EF058F6B6E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9C618-B527-4A53-880A-15F7E3C13F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FSLogix</a:t>
            </a:r>
            <a:r>
              <a:rPr lang="en-US" dirty="0"/>
              <a:t> Profile</a:t>
            </a:r>
            <a:endParaRPr lang="de-AT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C7C934-08BA-46A8-AC5C-D7B3A6AC9DDE}"/>
              </a:ext>
            </a:extLst>
          </p:cNvPr>
          <p:cNvSpPr/>
          <p:nvPr/>
        </p:nvSpPr>
        <p:spPr bwMode="auto">
          <a:xfrm>
            <a:off x="540701" y="1262807"/>
            <a:ext cx="11175742" cy="4619983"/>
          </a:xfrm>
          <a:prstGeom prst="rect">
            <a:avLst/>
          </a:prstGeom>
          <a:noFill/>
          <a:ln w="19050">
            <a:solidFill>
              <a:srgbClr val="C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6F22E-D3A4-4D70-A4AE-9EDE724F82B2}"/>
              </a:ext>
            </a:extLst>
          </p:cNvPr>
          <p:cNvSpPr txBox="1">
            <a:spLocks/>
          </p:cNvSpPr>
          <p:nvPr/>
        </p:nvSpPr>
        <p:spPr>
          <a:xfrm>
            <a:off x="4914337" y="1876597"/>
            <a:ext cx="6577019" cy="3880619"/>
          </a:xfrm>
          <a:prstGeom prst="rect">
            <a:avLst/>
          </a:prstGeom>
        </p:spPr>
        <p:txBody>
          <a:bodyPr/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557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112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599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669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599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224" marR="0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599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4548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830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112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394" indent="-233141" algn="l" defTabSz="9325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346" indent="-286346" defTabSz="914192">
              <a:lnSpc>
                <a:spcPct val="100000"/>
              </a:lnSpc>
              <a:spcBef>
                <a:spcPts val="588"/>
              </a:spcBef>
              <a:buFont typeface="Arial" panose="020B0604020202020204" pitchFamily="34" charset="0"/>
              <a:buChar char="•"/>
            </a:pPr>
            <a:r>
              <a:rPr lang="de-DE" sz="1961" dirty="0">
                <a:solidFill>
                  <a:schemeClr val="bg1"/>
                </a:solidFill>
              </a:rPr>
              <a:t>Profil wird in VHD/VHD(X) gespeichert
Bei Login verbunden – schnelleres Login und keine Zielspeicheranforderung
Die Größe des Profils wirkt sich nicht auf die Anmeldezeit aus</a:t>
            </a:r>
            <a:endParaRPr lang="en-US" sz="1961" dirty="0">
              <a:solidFill>
                <a:schemeClr val="bg1"/>
              </a:solidFill>
              <a:latin typeface="Segoe UI"/>
            </a:endParaRPr>
          </a:p>
          <a:p>
            <a:pPr marL="286346" indent="-286346" defTabSz="914192">
              <a:lnSpc>
                <a:spcPct val="100000"/>
              </a:lnSpc>
              <a:spcBef>
                <a:spcPts val="588"/>
              </a:spcBef>
              <a:buFont typeface="Arial" panose="020B0604020202020204" pitchFamily="34" charset="0"/>
              <a:buChar char="•"/>
            </a:pPr>
            <a:r>
              <a:rPr lang="de-DE" sz="1961" dirty="0">
                <a:solidFill>
                  <a:schemeClr val="bg1"/>
                </a:solidFill>
              </a:rPr>
              <a:t>VHD(X) = Blockübertragung verringert Netzwerkauslastung
Profilcontainer leitet alles aus dem Benutzerprofil um</a:t>
            </a:r>
            <a:r>
              <a:rPr lang="en-US" sz="1961" dirty="0">
                <a:solidFill>
                  <a:schemeClr val="bg1"/>
                </a:solidFill>
                <a:latin typeface="Segoe UI"/>
              </a:rPr>
              <a:t>.</a:t>
            </a:r>
          </a:p>
          <a:p>
            <a:pPr marL="286346" indent="-286346" defTabSz="914192">
              <a:lnSpc>
                <a:spcPct val="100000"/>
              </a:lnSpc>
              <a:spcBef>
                <a:spcPts val="588"/>
              </a:spcBef>
              <a:buFont typeface="Arial" panose="020B0604020202020204" pitchFamily="34" charset="0"/>
              <a:buChar char="•"/>
            </a:pPr>
            <a:r>
              <a:rPr lang="de-DE" sz="1961" dirty="0">
                <a:solidFill>
                  <a:schemeClr val="bg1"/>
                </a:solidFill>
              </a:rPr>
              <a:t>Filtertreiber bewirkt, dass das Profil als lokal angezeigt wird – breitere Anwendungsunterstützung</a:t>
            </a:r>
            <a:endParaRPr lang="en-US" sz="1961" dirty="0">
              <a:solidFill>
                <a:schemeClr val="bg1"/>
              </a:solidFill>
              <a:latin typeface="Segoe UI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D5AC3B-9954-451A-927A-7BEDC982168E}"/>
              </a:ext>
            </a:extLst>
          </p:cNvPr>
          <p:cNvGrpSpPr/>
          <p:nvPr/>
        </p:nvGrpSpPr>
        <p:grpSpPr>
          <a:xfrm>
            <a:off x="865144" y="1483719"/>
            <a:ext cx="3724750" cy="4104606"/>
            <a:chOff x="707814" y="1689219"/>
            <a:chExt cx="3724750" cy="410460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FD93F2E-55EA-48ED-B7ED-372CAA8B14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1244" y="1689219"/>
              <a:ext cx="1608943" cy="700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2B721B9-8AC3-4EED-9CC8-4E2691918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7814" y="2039425"/>
              <a:ext cx="2131101" cy="1889802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A229B84-81A5-47A9-91AF-D24C8E7DA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74320" y="3194819"/>
              <a:ext cx="2258244" cy="133199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0B64E64-FE23-4D9C-A237-BA185E1B88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2787" y="4461835"/>
              <a:ext cx="2328275" cy="13319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093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C67E26-F514-473F-96A8-E68F331625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7" y="2044"/>
          <a:ext cx="1557" cy="15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C67E26-F514-473F-96A8-E68F33162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2044"/>
                        <a:ext cx="1557" cy="15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AA9A22-CC37-46DA-9F5B-0A1955EE626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487"/>
            <a:ext cx="155629" cy="155629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9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4C48FB-305A-410B-9F50-E2EA85CD84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600" dirty="0"/>
              <a:t>Dem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6CC0B7-A6A5-45FE-82A9-D636D54AAF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Windows Virtual Desktop Multi-Session </a:t>
            </a:r>
            <a:r>
              <a:rPr lang="en-US" sz="2800" dirty="0" err="1"/>
              <a:t>Überblick</a:t>
            </a: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800" dirty="0"/>
              <a:t>Vorbereiten des WVD </a:t>
            </a:r>
            <a:r>
              <a:rPr lang="de-DE" sz="2800" dirty="0" err="1"/>
              <a:t>Tentants</a:t>
            </a:r>
            <a:endParaRPr lang="de-DE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sz="2800" dirty="0"/>
              <a:t>Bereitstellen von Windows Virtual Desktop</a:t>
            </a: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Dynamic Scaling von WVD Host Poo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anagement </a:t>
            </a:r>
            <a:r>
              <a:rPr lang="en-US" sz="2800" dirty="0" err="1"/>
              <a:t>mit</a:t>
            </a:r>
            <a:r>
              <a:rPr lang="en-US" sz="2800" dirty="0"/>
              <a:t> WVD-Admin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694223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C70B03-E158-429B-937D-1B9F38078A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VD </a:t>
            </a:r>
            <a:r>
              <a:rPr lang="en-US" dirty="0" err="1"/>
              <a:t>Tentant</a:t>
            </a:r>
            <a:r>
              <a:rPr lang="en-US" dirty="0"/>
              <a:t> </a:t>
            </a:r>
            <a:r>
              <a:rPr lang="en-US" dirty="0" err="1"/>
              <a:t>Vorbereiten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786AAB-A268-4968-9CF6-FD064E93BC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d-</a:t>
            </a:r>
            <a:r>
              <a:rPr lang="en-US" dirty="0" err="1"/>
              <a:t>RdsAccount</a:t>
            </a:r>
            <a:r>
              <a:rPr lang="en-US" dirty="0"/>
              <a:t> -</a:t>
            </a:r>
            <a:r>
              <a:rPr lang="en-US" dirty="0" err="1"/>
              <a:t>DeploymentUrl</a:t>
            </a:r>
            <a:r>
              <a:rPr lang="en-US" dirty="0"/>
              <a:t> "https://rdbroker.wvd.microsoft.com"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New-</a:t>
            </a:r>
            <a:r>
              <a:rPr lang="de-AT" dirty="0" err="1"/>
              <a:t>RdsTenant</a:t>
            </a:r>
            <a:r>
              <a:rPr lang="de-AT" dirty="0"/>
              <a:t> -Name </a:t>
            </a:r>
            <a:r>
              <a:rPr lang="de-AT" dirty="0" err="1"/>
              <a:t>InfotechDemo</a:t>
            </a:r>
            <a:r>
              <a:rPr lang="de-AT" dirty="0"/>
              <a:t> -</a:t>
            </a:r>
            <a:r>
              <a:rPr lang="de-AT" dirty="0" err="1"/>
              <a:t>AadTenantId</a:t>
            </a:r>
            <a:r>
              <a:rPr lang="de-AT" dirty="0"/>
              <a:t> &lt;</a:t>
            </a:r>
            <a:r>
              <a:rPr lang="de-AT" dirty="0" err="1"/>
              <a:t>TentantGUID</a:t>
            </a:r>
            <a:r>
              <a:rPr lang="de-AT" dirty="0"/>
              <a:t>&gt; -</a:t>
            </a:r>
            <a:r>
              <a:rPr lang="de-AT" dirty="0" err="1"/>
              <a:t>AzureSubscriptionId</a:t>
            </a:r>
            <a:r>
              <a:rPr lang="de-AT" dirty="0"/>
              <a:t> &lt;</a:t>
            </a:r>
            <a:r>
              <a:rPr lang="de-AT" dirty="0" err="1"/>
              <a:t>SubscriptionGUID</a:t>
            </a:r>
            <a:r>
              <a:rPr lang="de-AT" dirty="0"/>
              <a:t>&gt; </a:t>
            </a:r>
          </a:p>
          <a:p>
            <a:endParaRPr lang="de-AT" dirty="0"/>
          </a:p>
          <a:p>
            <a:r>
              <a:rPr lang="de-AT" dirty="0"/>
              <a:t>New-</a:t>
            </a:r>
            <a:r>
              <a:rPr lang="de-AT" dirty="0" err="1"/>
              <a:t>RdsRoleAssignment</a:t>
            </a:r>
            <a:r>
              <a:rPr lang="de-AT" dirty="0"/>
              <a:t> -</a:t>
            </a:r>
            <a:r>
              <a:rPr lang="de-AT" dirty="0" err="1"/>
              <a:t>TenantName</a:t>
            </a:r>
            <a:r>
              <a:rPr lang="de-AT" dirty="0"/>
              <a:t> </a:t>
            </a:r>
            <a:r>
              <a:rPr lang="de-AT" dirty="0" err="1"/>
              <a:t>InfotechDemo</a:t>
            </a:r>
            <a:r>
              <a:rPr lang="de-AT" dirty="0"/>
              <a:t> -</a:t>
            </a:r>
            <a:r>
              <a:rPr lang="de-AT" dirty="0" err="1"/>
              <a:t>SignInName</a:t>
            </a:r>
            <a:r>
              <a:rPr lang="de-AT" dirty="0"/>
              <a:t> </a:t>
            </a:r>
            <a:r>
              <a:rPr lang="de-AT" dirty="0" err="1">
                <a:hlinkClick r:id="rId2"/>
              </a:rPr>
              <a:t>wvdadmin@infotech.cloud</a:t>
            </a:r>
            <a:r>
              <a:rPr lang="de-AT" dirty="0"/>
              <a:t> -</a:t>
            </a:r>
            <a:r>
              <a:rPr lang="de-AT" dirty="0" err="1"/>
              <a:t>RoleDefinitionName</a:t>
            </a:r>
            <a:r>
              <a:rPr lang="de-AT" dirty="0"/>
              <a:t> "RDS </a:t>
            </a:r>
            <a:r>
              <a:rPr lang="de-AT" dirty="0" err="1"/>
              <a:t>Owner</a:t>
            </a:r>
            <a:r>
              <a:rPr lang="de-AT" dirty="0"/>
              <a:t>„</a:t>
            </a:r>
          </a:p>
          <a:p>
            <a:endParaRPr lang="de-AT"/>
          </a:p>
          <a:p>
            <a:endParaRPr lang="de-AT" dirty="0"/>
          </a:p>
          <a:p>
            <a:r>
              <a:rPr lang="de-AT" dirty="0"/>
              <a:t>Add-</a:t>
            </a:r>
            <a:r>
              <a:rPr lang="de-AT" dirty="0" err="1"/>
              <a:t>RdsAppGroupUser</a:t>
            </a:r>
            <a:r>
              <a:rPr lang="de-AT" dirty="0"/>
              <a:t> </a:t>
            </a:r>
            <a:r>
              <a:rPr lang="de-AT" dirty="0" err="1"/>
              <a:t>InfotechDemo</a:t>
            </a:r>
            <a:r>
              <a:rPr lang="de-AT" dirty="0"/>
              <a:t> Infotech "Desktop Application Group" -</a:t>
            </a:r>
            <a:r>
              <a:rPr lang="de-AT" dirty="0" err="1"/>
              <a:t>UserPrincipalName</a:t>
            </a:r>
            <a:r>
              <a:rPr lang="de-AT" dirty="0"/>
              <a:t> </a:t>
            </a:r>
            <a:r>
              <a:rPr lang="de-AT" dirty="0" err="1"/>
              <a:t>masterchief@infotech.cloud</a:t>
            </a:r>
            <a:endParaRPr lang="de-AT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B6EA21-45E3-47C6-BC5D-C09040BF5CC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81323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D9D47D-EA6A-4116-9B4D-C5B010D163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Vorteile von WVD (USP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0B32A7A-06CC-4246-BCE1-1269B94D9F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0" y="2168525"/>
            <a:ext cx="11150600" cy="49847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AT" sz="3200"/>
              <a:t>Unique </a:t>
            </a:r>
            <a:r>
              <a:rPr lang="de-AT" sz="3200" err="1"/>
              <a:t>Selling</a:t>
            </a:r>
            <a:r>
              <a:rPr lang="de-AT" sz="3200"/>
              <a:t> Proposition (USP)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87853866"/>
              </p:ext>
            </p:extLst>
          </p:nvPr>
        </p:nvGraphicFramePr>
        <p:xfrm>
          <a:off x="1832158" y="1451224"/>
          <a:ext cx="8534219" cy="4854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459917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A72F22B-055E-4494-8B46-8DAAAB23E883}"/>
              </a:ext>
            </a:extLst>
          </p:cNvPr>
          <p:cNvSpPr/>
          <p:nvPr/>
        </p:nvSpPr>
        <p:spPr bwMode="auto">
          <a:xfrm>
            <a:off x="1259834" y="1649628"/>
            <a:ext cx="4363808" cy="3282950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225" eaLnBrk="0" fontAlgn="base" hangingPunct="0">
              <a:spcBef>
                <a:spcPts val="800"/>
              </a:spcBef>
              <a:defRPr/>
            </a:pPr>
            <a:r>
              <a:rPr lang="en-US" altLang="en-US" sz="2000" dirty="0">
                <a:solidFill>
                  <a:srgbClr val="C00000"/>
                </a:solidFill>
                <a:latin typeface="Segoe UI Semibold"/>
              </a:rPr>
              <a:t>Client</a:t>
            </a:r>
          </a:p>
          <a:p>
            <a:pPr defTabSz="914225" eaLnBrk="0" fontAlgn="base" hangingPunct="0">
              <a:spcBef>
                <a:spcPts val="800"/>
              </a:spcBef>
              <a:defRPr/>
            </a:pPr>
            <a:r>
              <a:rPr lang="de-DE" altLang="en-US" sz="1400" dirty="0">
                <a:solidFill>
                  <a:schemeClr val="bg1"/>
                </a:solidFill>
              </a:rPr>
              <a:t>Kunden können auf Windows 7, Windows 10 Einzel- und Multisession mit Windows Virtual Desktop (WVD) zugreifen, wenn sie über eine der folgenden Lizenzen verfügen*:</a:t>
            </a:r>
            <a:endParaRPr lang="en-US" altLang="en-US" sz="1400" dirty="0">
              <a:solidFill>
                <a:schemeClr val="bg1"/>
              </a:solidFill>
              <a:latin typeface="Segoe UI"/>
              <a:cs typeface="Segoe UI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Microsoft 365 E3/E5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182845" lvl="1" indent="-182845" defTabSz="914225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Microsoft 365 A3/A5/Student Use Benefits</a:t>
            </a:r>
            <a:endParaRPr lang="en-US" dirty="0">
              <a:solidFill>
                <a:schemeClr val="bg1"/>
              </a:solidFill>
              <a:latin typeface="Segoe UI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Microsoft 365 F1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Microsoft 365 Business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Windows 10 Enterprise E3/E5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Windows 10 Education A3/A5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Windows 10 VDA per user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E59E6B-7639-4109-AC3D-A7E70C8CA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5" y="261867"/>
            <a:ext cx="11151917" cy="775597"/>
          </a:xfrm>
        </p:spPr>
        <p:txBody>
          <a:bodyPr/>
          <a:lstStyle/>
          <a:p>
            <a:r>
              <a:rPr lang="en-US" sz="3200" dirty="0"/>
              <a:t>WVD </a:t>
            </a:r>
            <a:r>
              <a:rPr lang="de-DE" sz="3200" dirty="0"/>
              <a:t>Lizenzanforderungen </a:t>
            </a:r>
            <a:br>
              <a:rPr lang="en-US" sz="3200" dirty="0"/>
            </a:br>
            <a:r>
              <a:rPr lang="de-DE" sz="2400" dirty="0"/>
              <a:t>Viele Kunden haben bereits Anspruch auf WVD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4542CE9-6B9D-4039-A2D9-77BA5B7996F3}"/>
              </a:ext>
            </a:extLst>
          </p:cNvPr>
          <p:cNvSpPr/>
          <p:nvPr/>
        </p:nvSpPr>
        <p:spPr bwMode="auto">
          <a:xfrm>
            <a:off x="7228178" y="1687983"/>
            <a:ext cx="4920279" cy="1949252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225" eaLnBrk="0" fontAlgn="base" hangingPunct="0">
              <a:spcBef>
                <a:spcPts val="800"/>
              </a:spcBef>
              <a:defRPr/>
            </a:pPr>
            <a:r>
              <a:rPr lang="en-US" altLang="en-US" sz="2000" dirty="0">
                <a:solidFill>
                  <a:srgbClr val="C00000"/>
                </a:solidFill>
                <a:latin typeface="Segoe UI Semibold"/>
              </a:rPr>
              <a:t>Server</a:t>
            </a:r>
          </a:p>
          <a:p>
            <a:pPr defTabSz="914225" eaLnBrk="0" fontAlgn="base" hangingPunct="0">
              <a:spcBef>
                <a:spcPts val="800"/>
              </a:spcBef>
              <a:defRPr/>
            </a:pPr>
            <a:r>
              <a:rPr lang="de-DE" altLang="en-US" sz="1400" dirty="0">
                <a:solidFill>
                  <a:schemeClr val="bg1"/>
                </a:solidFill>
              </a:rPr>
              <a:t>Kunden können auf Server-Workloads mit Windows Virtual Desktop (WVD) zugreifen, wenn sie über eine der folgenden Lizenzen verfügen.</a:t>
            </a:r>
            <a:r>
              <a:rPr lang="en-US" altLang="en-US" sz="1400" dirty="0">
                <a:solidFill>
                  <a:schemeClr val="bg1"/>
                </a:solidFill>
                <a:latin typeface="Segoe UI"/>
              </a:rPr>
              <a:t>:</a:t>
            </a:r>
          </a:p>
          <a:p>
            <a:pPr marL="182845" lvl="1" indent="-182845" defTabSz="914225" eaLnBrk="0" fontAlgn="base" hangingPunct="0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RDS CAL </a:t>
            </a:r>
            <a:r>
              <a:rPr lang="en-US" altLang="en-US" sz="1400" dirty="0" err="1">
                <a:solidFill>
                  <a:schemeClr val="bg1"/>
                </a:solidFill>
                <a:latin typeface="Segoe UI Semibold"/>
              </a:rPr>
              <a:t>Lizenz</a:t>
            </a: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 </a:t>
            </a:r>
            <a:r>
              <a:rPr lang="en-US" altLang="en-US" sz="1400" dirty="0" err="1">
                <a:solidFill>
                  <a:schemeClr val="bg1"/>
                </a:solidFill>
                <a:latin typeface="Segoe UI Semibold"/>
              </a:rPr>
              <a:t>mit</a:t>
            </a: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 </a:t>
            </a:r>
            <a:r>
              <a:rPr lang="en-US" altLang="en-US" sz="1400" dirty="0" err="1">
                <a:solidFill>
                  <a:schemeClr val="bg1"/>
                </a:solidFill>
                <a:latin typeface="Segoe UI Semibold"/>
              </a:rPr>
              <a:t>aktiver</a:t>
            </a:r>
            <a:r>
              <a:rPr lang="en-US" altLang="en-US" sz="1400" dirty="0">
                <a:solidFill>
                  <a:schemeClr val="bg1"/>
                </a:solidFill>
                <a:latin typeface="Segoe UI Semibold"/>
              </a:rPr>
              <a:t> Software Assurance (SA)</a:t>
            </a:r>
            <a:endParaRPr lang="en-US" altLang="en-US" sz="1400" dirty="0">
              <a:solidFill>
                <a:schemeClr val="bg1"/>
              </a:solidFill>
              <a:latin typeface="Segoe UI Semibold"/>
              <a:cs typeface="Segoe UI Semibold"/>
            </a:endParaRPr>
          </a:p>
          <a:p>
            <a:pPr marL="0" lvl="1" defTabSz="914225" eaLnBrk="0" fontAlgn="base" hangingPunct="0">
              <a:spcBef>
                <a:spcPts val="800"/>
              </a:spcBef>
              <a:defRPr/>
            </a:pPr>
            <a:endParaRPr lang="en-US" altLang="en-US" sz="1400" i="1" dirty="0">
              <a:solidFill>
                <a:srgbClr val="000000"/>
              </a:solidFill>
              <a:latin typeface="Segoe UI Semibold"/>
            </a:endParaRPr>
          </a:p>
          <a:p>
            <a:pPr marL="0" lvl="1" defTabSz="914225" eaLnBrk="0" fontAlgn="base" hangingPunct="0">
              <a:spcBef>
                <a:spcPts val="800"/>
              </a:spcBef>
              <a:defRPr/>
            </a:pPr>
            <a:r>
              <a:rPr lang="en-US" altLang="en-US" sz="1000" i="1" dirty="0">
                <a:solidFill>
                  <a:srgbClr val="000000"/>
                </a:solidFill>
                <a:latin typeface="Segoe UI"/>
              </a:rPr>
              <a:t>.</a:t>
            </a:r>
            <a:endParaRPr lang="en-US" altLang="en-US" sz="1000" i="1" dirty="0">
              <a:solidFill>
                <a:srgbClr val="000000"/>
              </a:solidFill>
              <a:latin typeface="Segoe UI"/>
              <a:cs typeface="Segoe UI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FC4D8ED-E985-4471-AE46-76B40D01D5CA}"/>
              </a:ext>
            </a:extLst>
          </p:cNvPr>
          <p:cNvCxnSpPr>
            <a:cxnSpLocks/>
          </p:cNvCxnSpPr>
          <p:nvPr/>
        </p:nvCxnSpPr>
        <p:spPr>
          <a:xfrm>
            <a:off x="1259832" y="5223677"/>
            <a:ext cx="5206003" cy="0"/>
          </a:xfrm>
          <a:prstGeom prst="line">
            <a:avLst/>
          </a:prstGeom>
          <a:ln w="6350" cap="rnd">
            <a:solidFill>
              <a:srgbClr val="C00000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00BE130-84E4-493A-B2E5-8068E6ACC959}"/>
              </a:ext>
            </a:extLst>
          </p:cNvPr>
          <p:cNvGrpSpPr/>
          <p:nvPr/>
        </p:nvGrpSpPr>
        <p:grpSpPr>
          <a:xfrm>
            <a:off x="172027" y="1611533"/>
            <a:ext cx="753153" cy="803320"/>
            <a:chOff x="4053276" y="773630"/>
            <a:chExt cx="803434" cy="803434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F731DB8-91D1-4E03-B33A-42B385B78B07}"/>
                </a:ext>
              </a:extLst>
            </p:cNvPr>
            <p:cNvSpPr/>
            <p:nvPr/>
          </p:nvSpPr>
          <p:spPr bwMode="auto">
            <a:xfrm>
              <a:off x="4053276" y="773630"/>
              <a:ext cx="803434" cy="803434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87822" tIns="43911" rIns="87822" bIns="43911" numCol="1" anchor="t" anchorCtr="0" compatLnSpc="1">
              <a:prstTxWarp prst="textNoShape">
                <a:avLst/>
              </a:prstTxWarp>
            </a:bodyPr>
            <a:lstStyle/>
            <a:p>
              <a:pPr defTabSz="895659">
                <a:defRPr/>
              </a:pPr>
              <a:endParaRPr lang="en-US" err="1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7" name="monitor" title="Icon of a monitor">
              <a:extLst>
                <a:ext uri="{FF2B5EF4-FFF2-40B4-BE49-F238E27FC236}">
                  <a16:creationId xmlns:a16="http://schemas.microsoft.com/office/drawing/2014/main" id="{4872B0FF-9F2B-4974-AC5D-175B98DA4FC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67084" y="1031335"/>
              <a:ext cx="375818" cy="288024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833" tIns="43916" rIns="87833" bIns="43916" numCol="1" anchor="t" anchorCtr="0" compatLnSpc="1">
              <a:prstTxWarp prst="textNoShape">
                <a:avLst/>
              </a:prstTxWarp>
            </a:bodyPr>
            <a:lstStyle/>
            <a:p>
              <a:pPr algn="ctr" defTabSz="878211" fontAlgn="base">
                <a:defRPr/>
              </a:pPr>
              <a:endParaRPr lang="en-US" sz="1631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3797C75-56EC-4E31-B1EA-5827469711D5}"/>
              </a:ext>
            </a:extLst>
          </p:cNvPr>
          <p:cNvGrpSpPr/>
          <p:nvPr/>
        </p:nvGrpSpPr>
        <p:grpSpPr>
          <a:xfrm>
            <a:off x="6140372" y="1705544"/>
            <a:ext cx="753153" cy="803320"/>
            <a:chOff x="4053276" y="4248755"/>
            <a:chExt cx="803434" cy="80343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6AF430A-984F-4C96-9761-DF6EDD20E4C0}"/>
                </a:ext>
              </a:extLst>
            </p:cNvPr>
            <p:cNvSpPr/>
            <p:nvPr/>
          </p:nvSpPr>
          <p:spPr bwMode="auto">
            <a:xfrm>
              <a:off x="4053276" y="4248755"/>
              <a:ext cx="803434" cy="803434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  <a:effectLst>
              <a:outerShdw blurRad="190500" dist="38100" dir="2700000" algn="tl" rotWithShape="0">
                <a:prstClr val="black">
                  <a:alpha val="25000"/>
                </a:prstClr>
              </a:outerShdw>
            </a:effectLst>
          </p:spPr>
          <p:txBody>
            <a:bodyPr vert="horz" wrap="square" lIns="87822" tIns="43911" rIns="87822" bIns="43911" numCol="1" anchor="t" anchorCtr="0" compatLnSpc="1">
              <a:prstTxWarp prst="textNoShape">
                <a:avLst/>
              </a:prstTxWarp>
            </a:bodyPr>
            <a:lstStyle/>
            <a:p>
              <a:pPr defTabSz="895659">
                <a:defRPr/>
              </a:pPr>
              <a:endParaRPr lang="en-US" err="1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8" name="server" title="Icon of a server tower">
              <a:extLst>
                <a:ext uri="{FF2B5EF4-FFF2-40B4-BE49-F238E27FC236}">
                  <a16:creationId xmlns:a16="http://schemas.microsoft.com/office/drawing/2014/main" id="{404D31BF-42A5-439E-948F-65CB362582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52272" y="4435751"/>
              <a:ext cx="207607" cy="394325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06" tIns="44804" rIns="89606" bIns="44804" numCol="1" anchor="t" anchorCtr="0" compatLnSpc="1">
              <a:prstTxWarp prst="textNoShape">
                <a:avLst/>
              </a:prstTxWarp>
            </a:bodyPr>
            <a:lstStyle/>
            <a:p>
              <a:pPr algn="ctr" defTabSz="896030" fontAlgn="base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1784155-2DE7-471C-AD9B-7D688D65A637}"/>
              </a:ext>
            </a:extLst>
          </p:cNvPr>
          <p:cNvSpPr/>
          <p:nvPr/>
        </p:nvSpPr>
        <p:spPr>
          <a:xfrm>
            <a:off x="2596884" y="5534304"/>
            <a:ext cx="7086976" cy="1061829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algn="ctr" defTabSz="1219613">
              <a:spcBef>
                <a:spcPct val="0"/>
              </a:spcBef>
              <a:spcAft>
                <a:spcPts val="588"/>
              </a:spcAft>
              <a:defRPr/>
            </a:pPr>
            <a:r>
              <a:rPr lang="de-DE" sz="1600" dirty="0">
                <a:solidFill>
                  <a:schemeClr val="bg1"/>
                </a:solidFill>
              </a:rPr>
              <a:t>Kunden zahlen für die virtuellen Maschinen (VMs), Speicher und Netzwerkverbrauch, wenn die Benutzer den Dienst verwenden</a:t>
            </a:r>
            <a:r>
              <a:rPr lang="de-DE" sz="2400" dirty="0">
                <a:solidFill>
                  <a:schemeClr val="bg1"/>
                </a:solidFill>
              </a:rPr>
              <a:t>
</a:t>
            </a:r>
            <a:endParaRPr lang="en-US" sz="2000" dirty="0">
              <a:solidFill>
                <a:schemeClr val="bg1"/>
              </a:solidFill>
              <a:latin typeface="Segoe UI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389C78-41F9-4EA9-85D5-A8FD7D1FD0B1}"/>
              </a:ext>
            </a:extLst>
          </p:cNvPr>
          <p:cNvSpPr/>
          <p:nvPr/>
        </p:nvSpPr>
        <p:spPr>
          <a:xfrm>
            <a:off x="2741985" y="6424443"/>
            <a:ext cx="7142185" cy="34337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lvl="1" defTabSz="914225" eaLnBrk="0" fontAlgn="base" hangingPunct="0">
              <a:spcBef>
                <a:spcPts val="800"/>
              </a:spcBef>
              <a:defRPr/>
            </a:pPr>
            <a:r>
              <a:rPr lang="en-US" altLang="en-US" sz="800" i="1" dirty="0">
                <a:solidFill>
                  <a:schemeClr val="bg1"/>
                </a:solidFill>
                <a:latin typeface="Segoe UI"/>
              </a:rPr>
              <a:t>*Customers can access Windows Virtual Desktop from their non-Windows Pro endpoints if they have a Microsoft 365 E3/E5/F1, Microsoft 365 A3/A5 or Windows 10 VDA per user license.</a:t>
            </a:r>
          </a:p>
        </p:txBody>
      </p:sp>
    </p:spTree>
    <p:extLst>
      <p:ext uri="{BB962C8B-B14F-4D97-AF65-F5344CB8AC3E}">
        <p14:creationId xmlns:p14="http://schemas.microsoft.com/office/powerpoint/2010/main" val="6305308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84F7DC-0C01-4C0B-BB4D-207435BCF8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Zugang zur </a:t>
            </a:r>
            <a:r>
              <a:rPr lang="de-DE" dirty="0" err="1"/>
              <a:t>FSLogix</a:t>
            </a:r>
            <a:r>
              <a:rPr lang="de-DE" dirty="0"/>
              <a:t> - Technologie</a:t>
            </a:r>
            <a:endParaRPr lang="de-AT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9B33D5-9A70-4816-A52D-925E679D2EB1}"/>
              </a:ext>
            </a:extLst>
          </p:cNvPr>
          <p:cNvSpPr/>
          <p:nvPr/>
        </p:nvSpPr>
        <p:spPr>
          <a:xfrm>
            <a:off x="3138766" y="2402535"/>
            <a:ext cx="6093580" cy="341583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Microsoft 365 E3/E5/F1/Business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Microsoft 365 A3/A5/Student Use Benefits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Windows 10 Enterprise E3/E5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Windows 10 Education A3/A5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Windows 10 VDA per user 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Remote Desktop Services (RDS) CAL     </a:t>
            </a:r>
            <a:r>
              <a:rPr lang="en-US" b="1" dirty="0">
                <a:solidFill>
                  <a:srgbClr val="C00000"/>
                </a:solidFill>
                <a:latin typeface="Segoe UI" panose="020B0502040204020203" pitchFamily="34" charset="0"/>
              </a:rPr>
              <a:t>NEW</a:t>
            </a: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 </a:t>
            </a:r>
          </a:p>
          <a:p>
            <a:pPr defTabSz="895922" fontAlgn="base">
              <a:spcBef>
                <a:spcPts val="1153"/>
              </a:spcBef>
              <a:spcAft>
                <a:spcPts val="575"/>
              </a:spcAft>
              <a:defRPr/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</a:rPr>
              <a:t>Remote Desktop Services (RDS) SAL      </a:t>
            </a:r>
            <a:r>
              <a:rPr lang="en-US" b="1" dirty="0">
                <a:solidFill>
                  <a:srgbClr val="C00000"/>
                </a:solidFill>
                <a:latin typeface="Segoe UI" panose="020B0502040204020203" pitchFamily="34" charset="0"/>
              </a:rPr>
              <a:t>NEW</a:t>
            </a:r>
            <a:r>
              <a:rPr lang="en-US" dirty="0">
                <a:solidFill>
                  <a:srgbClr val="C00000"/>
                </a:solidFill>
                <a:latin typeface="Segoe UI" panose="020B0502040204020203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E4CA43-CD94-41C3-B377-A965944D7E2D}"/>
              </a:ext>
            </a:extLst>
          </p:cNvPr>
          <p:cNvSpPr txBox="1"/>
          <p:nvPr/>
        </p:nvSpPr>
        <p:spPr>
          <a:xfrm>
            <a:off x="3238101" y="6398024"/>
            <a:ext cx="6085155" cy="1492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2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77" dirty="0">
                <a:solidFill>
                  <a:schemeClr val="bg1"/>
                </a:solidFill>
                <a:latin typeface="Segoe UI" panose="020B0502040204020203" pitchFamily="34" charset="0"/>
              </a:rPr>
              <a:t>*Including Office 365 Container, Profile Container, App Masking and Java Redirection</a:t>
            </a:r>
            <a:endParaRPr lang="en-US" sz="1077" i="1" dirty="0">
              <a:solidFill>
                <a:schemeClr val="bg1"/>
              </a:solidFill>
              <a:latin typeface="Segoe UI Semilight"/>
              <a:cs typeface="Segoe UI" pitchFamily="34" charset="0"/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5268FB5A-A4B2-44E0-B667-D3D6E747B9AD}"/>
              </a:ext>
            </a:extLst>
          </p:cNvPr>
          <p:cNvSpPr/>
          <p:nvPr/>
        </p:nvSpPr>
        <p:spPr bwMode="auto">
          <a:xfrm>
            <a:off x="6882874" y="5306562"/>
            <a:ext cx="328427" cy="346180"/>
          </a:xfrm>
          <a:prstGeom prst="star5">
            <a:avLst>
              <a:gd name="adj" fmla="val 14460"/>
              <a:gd name="hf" fmla="val 105146"/>
              <a:gd name="vf" fmla="val 110557"/>
            </a:avLst>
          </a:prstGeom>
          <a:solidFill>
            <a:srgbClr val="FF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22F9F04B-1840-4D3E-B43E-FC7691611758}"/>
              </a:ext>
            </a:extLst>
          </p:cNvPr>
          <p:cNvSpPr/>
          <p:nvPr/>
        </p:nvSpPr>
        <p:spPr bwMode="auto">
          <a:xfrm>
            <a:off x="6882874" y="4892537"/>
            <a:ext cx="328427" cy="346180"/>
          </a:xfrm>
          <a:prstGeom prst="star5">
            <a:avLst>
              <a:gd name="adj" fmla="val 14460"/>
              <a:gd name="hf" fmla="val 105146"/>
              <a:gd name="vf" fmla="val 110557"/>
            </a:avLst>
          </a:prstGeom>
          <a:solidFill>
            <a:srgbClr val="FF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DCD0FD-CF4E-46CF-A184-678C4C5D4513}"/>
              </a:ext>
            </a:extLst>
          </p:cNvPr>
          <p:cNvSpPr/>
          <p:nvPr/>
        </p:nvSpPr>
        <p:spPr>
          <a:xfrm>
            <a:off x="3138766" y="1134361"/>
            <a:ext cx="70596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92"/>
            <a:r>
              <a:rPr lang="de-DE" dirty="0">
                <a:solidFill>
                  <a:schemeClr val="bg1"/>
                </a:solidFill>
                <a:latin typeface="Segoe UI" panose="020B0502040204020203" pitchFamily="34" charset="0"/>
              </a:rPr>
              <a:t>Die </a:t>
            </a:r>
            <a:r>
              <a:rPr lang="de-DE" dirty="0" err="1">
                <a:solidFill>
                  <a:schemeClr val="bg1"/>
                </a:solidFill>
                <a:latin typeface="Segoe UI" panose="020B0502040204020203" pitchFamily="34" charset="0"/>
              </a:rPr>
              <a:t>FSLogix</a:t>
            </a:r>
            <a:r>
              <a:rPr lang="de-DE" dirty="0">
                <a:solidFill>
                  <a:schemeClr val="bg1"/>
                </a:solidFill>
                <a:latin typeface="Segoe UI" panose="020B0502040204020203" pitchFamily="34" charset="0"/>
              </a:rPr>
              <a:t>-Technologie, die die Leistung von Office 365 ProPlus in virtuellen Umgebungen mit mehreren Benutzern verbessert, ist jetzt für Microsoft 365-Kunden ohne zusätzliche Kosten verfügbar.
</a:t>
            </a:r>
            <a:endParaRPr lang="en-US" dirty="0">
              <a:solidFill>
                <a:schemeClr val="bg1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154470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on a table&#10;&#10;Description automatically generated">
            <a:extLst>
              <a:ext uri="{FF2B5EF4-FFF2-40B4-BE49-F238E27FC236}">
                <a16:creationId xmlns:a16="http://schemas.microsoft.com/office/drawing/2014/main" id="{6B6A486F-23B6-40DB-A03C-FC92D6856E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7754" y="1135074"/>
            <a:ext cx="4994246" cy="572292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F99320E-F8F4-4056-BEC0-E78F7D6B5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008575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72AFBC-7DDF-4F94-9A68-CA1BCFA0C05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10878" y="1018070"/>
            <a:ext cx="11378959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defRPr sz="32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1pPr>
            <a:lvl2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tabLst>
                <a:tab pos="472868" algn="l"/>
              </a:tabLst>
              <a:defRPr sz="24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2pPr>
            <a:lvl3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defRPr sz="18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3pPr>
            <a:lvl4pPr marL="1112489" indent="-167946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tabLst>
                <a:tab pos="686074" algn="l"/>
              </a:tabLst>
              <a:defRPr sz="1800" kern="1200">
                <a:solidFill>
                  <a:schemeClr val="tx1"/>
                </a:solidFill>
                <a:latin typeface="Segoe UI Light"/>
                <a:ea typeface="+mn-ea"/>
                <a:cs typeface="Segoe UI Light"/>
              </a:defRPr>
            </a:lvl4pPr>
            <a:lvl5pPr marL="1285199" indent="-17271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Segoe UI Light"/>
                <a:ea typeface="+mn-ea"/>
                <a:cs typeface="Segoe UI Light"/>
              </a:defRPr>
            </a:lvl5pPr>
            <a:lvl6pPr marL="1886629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652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676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700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C00000"/>
                </a:solidFill>
              </a:rPr>
              <a:t>Kosten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rund</a:t>
            </a:r>
            <a:r>
              <a:rPr lang="en-US" dirty="0">
                <a:solidFill>
                  <a:srgbClr val="C00000"/>
                </a:solidFill>
              </a:rPr>
              <a:t> um den Service</a:t>
            </a:r>
            <a:endParaRPr lang="de-DE" sz="1800" dirty="0">
              <a:solidFill>
                <a:srgbClr val="C00000"/>
              </a:solidFill>
              <a:latin typeface="Segoe UI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A93661-DA2A-4BF0-B3CA-E339F21ACCEC}"/>
              </a:ext>
            </a:extLst>
          </p:cNvPr>
          <p:cNvSpPr txBox="1">
            <a:spLocks/>
          </p:cNvSpPr>
          <p:nvPr/>
        </p:nvSpPr>
        <p:spPr>
          <a:xfrm>
            <a:off x="410875" y="1844331"/>
            <a:ext cx="5351463" cy="3753720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spcBef>
                <a:spcPct val="20000"/>
              </a:spcBef>
              <a:buClr>
                <a:srgbClr val="D40E14"/>
              </a:buClr>
              <a:buFont typeface="Wingdings" panose="05000000000000000000" pitchFamily="2" charset="2"/>
              <a:buChar char="§"/>
              <a:defRPr sz="2800" b="0" i="0" kern="1200">
                <a:solidFill>
                  <a:schemeClr val="bg1"/>
                </a:solidFill>
                <a:latin typeface="Klavika Regular" panose="02000506040000020004" pitchFamily="50" charset="0"/>
                <a:ea typeface="+mn-ea"/>
                <a:cs typeface="+mn-cs"/>
              </a:defRPr>
            </a:lvl1pPr>
            <a:lvl2pPr marL="800100" indent="-342900" algn="l" defTabSz="457200" rtl="0" eaLnBrk="1" latinLnBrk="0" hangingPunct="1">
              <a:spcBef>
                <a:spcPct val="20000"/>
              </a:spcBef>
              <a:buClr>
                <a:srgbClr val="D40E14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bg1"/>
                </a:solidFill>
                <a:latin typeface="Klavika Regular" panose="02000506040000020004" pitchFamily="50" charset="0"/>
                <a:ea typeface="+mn-ea"/>
                <a:cs typeface="+mn-cs"/>
              </a:defRPr>
            </a:lvl2pPr>
            <a:lvl3pPr marL="1257300" indent="-342900" algn="l" defTabSz="457200" rtl="0" eaLnBrk="1" latinLnBrk="0" hangingPunct="1">
              <a:spcBef>
                <a:spcPct val="20000"/>
              </a:spcBef>
              <a:buClr>
                <a:srgbClr val="D40E14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bg1"/>
                </a:solidFill>
                <a:latin typeface="Klavika Regular" panose="02000506040000020004" pitchFamily="50" charset="0"/>
                <a:ea typeface="+mn-ea"/>
                <a:cs typeface="+mn-cs"/>
              </a:defRPr>
            </a:lvl3pPr>
            <a:lvl4pPr marL="1657350" indent="-285750" algn="l" defTabSz="457200" rtl="0" eaLnBrk="1" latinLnBrk="0" hangingPunct="1">
              <a:spcBef>
                <a:spcPct val="20000"/>
              </a:spcBef>
              <a:buClr>
                <a:srgbClr val="D40E14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bg1"/>
                </a:solidFill>
                <a:latin typeface="Klavika Regular" panose="02000506040000020004" pitchFamily="50" charset="0"/>
                <a:ea typeface="+mn-ea"/>
                <a:cs typeface="+mn-cs"/>
              </a:defRPr>
            </a:lvl4pPr>
            <a:lvl5pPr marL="2114550" indent="-285750" algn="l" defTabSz="457200" rtl="0" eaLnBrk="1" latinLnBrk="0" hangingPunct="1">
              <a:spcBef>
                <a:spcPct val="20000"/>
              </a:spcBef>
              <a:buClr>
                <a:srgbClr val="D40E14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bg1"/>
                </a:solidFill>
                <a:latin typeface="Klavika Regular" panose="0200050604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2" fontAlgn="base"/>
            <a:r>
              <a:rPr lang="de-DE" sz="1961" b="1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Kosten: </a:t>
            </a:r>
            <a:br>
              <a:rPr lang="de-DE" sz="1961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Nur für virtuelle Maschinen, Storages und Netzwerke, die von den Usern verwendet werden.</a:t>
            </a:r>
          </a:p>
          <a:p>
            <a:pPr defTabSz="914102" fontAlgn="base"/>
            <a:endParaRPr lang="de-DE" sz="1961" dirty="0">
              <a:latin typeface="Segoe UI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102" fontAlgn="base"/>
            <a:r>
              <a:rPr lang="de-DE" sz="1961" b="1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Flexibilität: </a:t>
            </a:r>
            <a:br>
              <a:rPr lang="de-DE" sz="1961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sz="18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Jede VM oder Storage Option kann gewählt werden – immer passend zum Use Case.</a:t>
            </a:r>
          </a:p>
          <a:p>
            <a:pPr marL="0" indent="0" defTabSz="914102" fontAlgn="base">
              <a:buNone/>
            </a:pPr>
            <a:endParaRPr lang="de-DE" sz="1961" dirty="0">
              <a:solidFill>
                <a:schemeClr val="tx1"/>
              </a:solidFill>
            </a:endParaRPr>
          </a:p>
          <a:p>
            <a:pPr defTabSz="914102" fontAlgn="base"/>
            <a:r>
              <a:rPr lang="de-DE" sz="1961" b="1" dirty="0">
                <a:latin typeface="Segoe UI "/>
                <a:cs typeface="Arial" panose="020B0604020202020204" pitchFamily="34" charset="0"/>
              </a:rPr>
              <a:t>Mögliche Optionen:</a:t>
            </a:r>
          </a:p>
          <a:p>
            <a:pPr defTabSz="914102" fontAlgn="base"/>
            <a:r>
              <a:rPr lang="de-DE" sz="1800" dirty="0">
                <a:latin typeface="Segoe UI "/>
                <a:cs typeface="Arial" panose="020B0604020202020204" pitchFamily="34" charset="0"/>
              </a:rPr>
              <a:t>Nutzung von </a:t>
            </a:r>
            <a:br>
              <a:rPr lang="de-DE" sz="1800" dirty="0">
                <a:solidFill>
                  <a:schemeClr val="tx1"/>
                </a:solidFill>
              </a:rPr>
            </a:br>
            <a:r>
              <a:rPr lang="de-DE" sz="18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  <a:r>
              <a:rPr lang="de-DE" sz="1800" dirty="0" err="1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rved</a:t>
            </a:r>
            <a:r>
              <a:rPr lang="de-DE" sz="18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irtual </a:t>
            </a:r>
            <a:r>
              <a:rPr lang="de-DE" sz="1800" dirty="0" err="1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</a:t>
            </a:r>
            <a:r>
              <a:rPr lang="de-DE" sz="18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de-DE" sz="1800" dirty="0" err="1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ances</a:t>
            </a:r>
            <a:r>
              <a:rPr lang="de-DE" sz="18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257323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DF23D3-C675-4105-9C1D-668FEB0CB9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Lin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F1C8F7-5FD7-4D4E-9475-BEBDA25B0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0" y="2168525"/>
            <a:ext cx="11150600" cy="49847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AT" sz="3200"/>
              <a:t>Links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033986001"/>
              </p:ext>
            </p:extLst>
          </p:nvPr>
        </p:nvGraphicFramePr>
        <p:xfrm>
          <a:off x="1832158" y="1451224"/>
          <a:ext cx="8534219" cy="4854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700431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B8C2702-14B6-4F19-9D9C-B761D8DDE27E}"/>
              </a:ext>
            </a:extLst>
          </p:cNvPr>
          <p:cNvSpPr txBox="1"/>
          <p:nvPr/>
        </p:nvSpPr>
        <p:spPr>
          <a:xfrm>
            <a:off x="2763078" y="2022612"/>
            <a:ext cx="6440557" cy="265374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endParaRPr lang="de-AT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D233F2-3E6C-450A-BCDC-1D6C4C8148DE}"/>
              </a:ext>
            </a:extLst>
          </p:cNvPr>
          <p:cNvSpPr txBox="1"/>
          <p:nvPr/>
        </p:nvSpPr>
        <p:spPr>
          <a:xfrm>
            <a:off x="2549387" y="2052429"/>
            <a:ext cx="8398565" cy="310597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US" sz="9600" b="1" dirty="0" err="1">
                <a:solidFill>
                  <a:srgbClr val="C00000"/>
                </a:solidFill>
              </a:rPr>
              <a:t>Vielen</a:t>
            </a:r>
            <a:r>
              <a:rPr lang="en-US" sz="9600" b="1" dirty="0">
                <a:solidFill>
                  <a:srgbClr val="C00000"/>
                </a:solidFill>
              </a:rPr>
              <a:t> Dank!</a:t>
            </a:r>
            <a:endParaRPr lang="de-AT" sz="96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022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72DCEFB-BB47-44E0-8029-C7231C123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5" y="312651"/>
            <a:ext cx="11151917" cy="997196"/>
          </a:xfrm>
        </p:spPr>
        <p:txBody>
          <a:bodyPr/>
          <a:lstStyle/>
          <a:p>
            <a:r>
              <a:rPr lang="de-DE" dirty="0" err="1"/>
              <a:t>Virtualisierungsszenarien</a:t>
            </a:r>
            <a:r>
              <a:rPr lang="de-DE" dirty="0"/>
              <a:t> 
</a:t>
            </a:r>
          </a:p>
        </p:txBody>
      </p:sp>
      <p:grpSp>
        <p:nvGrpSpPr>
          <p:cNvPr id="4" name="Group 44">
            <a:extLst>
              <a:ext uri="{FF2B5EF4-FFF2-40B4-BE49-F238E27FC236}">
                <a16:creationId xmlns:a16="http://schemas.microsoft.com/office/drawing/2014/main" id="{D131FDCE-F066-4905-BF08-092312E97DDF}"/>
              </a:ext>
            </a:extLst>
          </p:cNvPr>
          <p:cNvGrpSpPr/>
          <p:nvPr/>
        </p:nvGrpSpPr>
        <p:grpSpPr>
          <a:xfrm>
            <a:off x="577792" y="1350602"/>
            <a:ext cx="2345549" cy="2345543"/>
            <a:chOff x="528418" y="1377188"/>
            <a:chExt cx="2392582" cy="2392576"/>
          </a:xfrm>
        </p:grpSpPr>
        <p:pic>
          <p:nvPicPr>
            <p:cNvPr id="5" name="Picture 37">
              <a:extLst>
                <a:ext uri="{FF2B5EF4-FFF2-40B4-BE49-F238E27FC236}">
                  <a16:creationId xmlns:a16="http://schemas.microsoft.com/office/drawing/2014/main" id="{C48AB0BD-3652-4860-AA8D-18F188DA65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33" t="4624" r="4555" b="5564"/>
            <a:stretch/>
          </p:blipFill>
          <p:spPr>
            <a:xfrm>
              <a:off x="806933" y="1683720"/>
              <a:ext cx="1779513" cy="1779512"/>
            </a:xfrm>
            <a:custGeom>
              <a:avLst/>
              <a:gdLst>
                <a:gd name="connsiteX0" fmla="*/ 889757 w 1779513"/>
                <a:gd name="connsiteY0" fmla="*/ 0 h 1779512"/>
                <a:gd name="connsiteX1" fmla="*/ 1779513 w 1779513"/>
                <a:gd name="connsiteY1" fmla="*/ 889756 h 1779512"/>
                <a:gd name="connsiteX2" fmla="*/ 889757 w 1779513"/>
                <a:gd name="connsiteY2" fmla="*/ 1779512 h 1779512"/>
                <a:gd name="connsiteX3" fmla="*/ 0 w 1779513"/>
                <a:gd name="connsiteY3" fmla="*/ 889756 h 1779512"/>
                <a:gd name="connsiteX4" fmla="*/ 889757 w 1779513"/>
                <a:gd name="connsiteY4" fmla="*/ 0 h 177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513" h="1779512">
                  <a:moveTo>
                    <a:pt x="889757" y="0"/>
                  </a:moveTo>
                  <a:cubicBezTo>
                    <a:pt x="1381155" y="0"/>
                    <a:pt x="1779513" y="398358"/>
                    <a:pt x="1779513" y="889756"/>
                  </a:cubicBezTo>
                  <a:cubicBezTo>
                    <a:pt x="1779513" y="1381154"/>
                    <a:pt x="1381155" y="1779512"/>
                    <a:pt x="889757" y="1779512"/>
                  </a:cubicBezTo>
                  <a:cubicBezTo>
                    <a:pt x="398358" y="1779512"/>
                    <a:pt x="0" y="1381154"/>
                    <a:pt x="0" y="889756"/>
                  </a:cubicBezTo>
                  <a:cubicBezTo>
                    <a:pt x="0" y="398358"/>
                    <a:pt x="398358" y="0"/>
                    <a:pt x="889757" y="0"/>
                  </a:cubicBezTo>
                  <a:close/>
                </a:path>
              </a:pathLst>
            </a:custGeom>
          </p:spPr>
        </p:pic>
        <p:sp>
          <p:nvSpPr>
            <p:cNvPr id="6" name="Arc 24">
              <a:extLst>
                <a:ext uri="{FF2B5EF4-FFF2-40B4-BE49-F238E27FC236}">
                  <a16:creationId xmlns:a16="http://schemas.microsoft.com/office/drawing/2014/main" id="{B582B249-A364-412F-892E-2488FBF79273}"/>
                </a:ext>
              </a:extLst>
            </p:cNvPr>
            <p:cNvSpPr/>
            <p:nvPr/>
          </p:nvSpPr>
          <p:spPr bwMode="auto">
            <a:xfrm>
              <a:off x="528418" y="1377188"/>
              <a:ext cx="2392582" cy="2392576"/>
            </a:xfrm>
            <a:prstGeom prst="arc">
              <a:avLst>
                <a:gd name="adj1" fmla="val 5831787"/>
                <a:gd name="adj2" fmla="val 0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7" name="Arc 25">
              <a:extLst>
                <a:ext uri="{FF2B5EF4-FFF2-40B4-BE49-F238E27FC236}">
                  <a16:creationId xmlns:a16="http://schemas.microsoft.com/office/drawing/2014/main" id="{A6C98D59-0613-44B0-AFA8-E4B04E1897B4}"/>
                </a:ext>
              </a:extLst>
            </p:cNvPr>
            <p:cNvSpPr/>
            <p:nvPr/>
          </p:nvSpPr>
          <p:spPr bwMode="auto">
            <a:xfrm>
              <a:off x="671692" y="1520461"/>
              <a:ext cx="2106035" cy="2106029"/>
            </a:xfrm>
            <a:prstGeom prst="arc">
              <a:avLst>
                <a:gd name="adj1" fmla="val 15932152"/>
                <a:gd name="adj2" fmla="val 8858699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8" name="Group 63">
            <a:extLst>
              <a:ext uri="{FF2B5EF4-FFF2-40B4-BE49-F238E27FC236}">
                <a16:creationId xmlns:a16="http://schemas.microsoft.com/office/drawing/2014/main" id="{9F9A4F35-B33E-4301-AAB1-E49AA26CAA67}"/>
              </a:ext>
            </a:extLst>
          </p:cNvPr>
          <p:cNvGrpSpPr/>
          <p:nvPr/>
        </p:nvGrpSpPr>
        <p:grpSpPr>
          <a:xfrm>
            <a:off x="545421" y="3884603"/>
            <a:ext cx="2410291" cy="2288709"/>
            <a:chOff x="556358" y="3962001"/>
            <a:chExt cx="2458622" cy="2334602"/>
          </a:xfrm>
        </p:grpSpPr>
        <p:sp>
          <p:nvSpPr>
            <p:cNvPr id="9" name="Rectangle 48">
              <a:extLst>
                <a:ext uri="{FF2B5EF4-FFF2-40B4-BE49-F238E27FC236}">
                  <a16:creationId xmlns:a16="http://schemas.microsoft.com/office/drawing/2014/main" id="{42281A73-11C0-4E2E-A81E-FF8B3328743E}"/>
                </a:ext>
              </a:extLst>
            </p:cNvPr>
            <p:cNvSpPr/>
            <p:nvPr/>
          </p:nvSpPr>
          <p:spPr bwMode="auto">
            <a:xfrm>
              <a:off x="923932" y="3962001"/>
              <a:ext cx="1723474" cy="68952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30" tIns="44814" rIns="89630" bIns="448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7009" fontAlgn="base">
                <a:spcBef>
                  <a:spcPts val="294"/>
                </a:spcBef>
                <a:spcAft>
                  <a:spcPct val="0"/>
                </a:spcAft>
                <a:defRPr/>
              </a:pPr>
              <a:r>
                <a:rPr lang="de-DE" sz="1765" kern="0" dirty="0">
                  <a:solidFill>
                    <a:srgbClr val="C0000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icherheit und Regulierung</a:t>
              </a:r>
            </a:p>
          </p:txBody>
        </p:sp>
        <p:sp>
          <p:nvSpPr>
            <p:cNvPr id="10" name="Rectangle 49">
              <a:extLst>
                <a:ext uri="{FF2B5EF4-FFF2-40B4-BE49-F238E27FC236}">
                  <a16:creationId xmlns:a16="http://schemas.microsoft.com/office/drawing/2014/main" id="{09F9AA5D-E590-43B1-AD81-C1E788FEF8DD}"/>
                </a:ext>
              </a:extLst>
            </p:cNvPr>
            <p:cNvSpPr/>
            <p:nvPr/>
          </p:nvSpPr>
          <p:spPr bwMode="auto">
            <a:xfrm>
              <a:off x="556358" y="4746170"/>
              <a:ext cx="2458622" cy="155043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44814" rIns="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Finanzdienstleistungen
Gesundheitswesen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Öffentliche Verwaltung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11" name="Group 45">
            <a:extLst>
              <a:ext uri="{FF2B5EF4-FFF2-40B4-BE49-F238E27FC236}">
                <a16:creationId xmlns:a16="http://schemas.microsoft.com/office/drawing/2014/main" id="{A173FA33-2A0B-48F0-BA94-045FED3C7D88}"/>
              </a:ext>
            </a:extLst>
          </p:cNvPr>
          <p:cNvGrpSpPr/>
          <p:nvPr/>
        </p:nvGrpSpPr>
        <p:grpSpPr>
          <a:xfrm>
            <a:off x="3534957" y="1350602"/>
            <a:ext cx="2345549" cy="2345543"/>
            <a:chOff x="3554193" y="1377188"/>
            <a:chExt cx="2392582" cy="2392576"/>
          </a:xfrm>
        </p:grpSpPr>
        <p:pic>
          <p:nvPicPr>
            <p:cNvPr id="12" name="Picture 39">
              <a:extLst>
                <a:ext uri="{FF2B5EF4-FFF2-40B4-BE49-F238E27FC236}">
                  <a16:creationId xmlns:a16="http://schemas.microsoft.com/office/drawing/2014/main" id="{049FCE76-E99E-4723-8C73-9BFFDA105A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52" t="1395" r="4199" b="6144"/>
            <a:stretch/>
          </p:blipFill>
          <p:spPr>
            <a:xfrm>
              <a:off x="3829959" y="1683720"/>
              <a:ext cx="1779512" cy="1779511"/>
            </a:xfrm>
            <a:custGeom>
              <a:avLst/>
              <a:gdLst>
                <a:gd name="connsiteX0" fmla="*/ 889756 w 1779512"/>
                <a:gd name="connsiteY0" fmla="*/ 0 h 1779511"/>
                <a:gd name="connsiteX1" fmla="*/ 1779512 w 1779512"/>
                <a:gd name="connsiteY1" fmla="*/ 889756 h 1779511"/>
                <a:gd name="connsiteX2" fmla="*/ 889756 w 1779512"/>
                <a:gd name="connsiteY2" fmla="*/ 1779511 h 1779511"/>
                <a:gd name="connsiteX3" fmla="*/ 0 w 1779512"/>
                <a:gd name="connsiteY3" fmla="*/ 889756 h 1779511"/>
                <a:gd name="connsiteX4" fmla="*/ 889756 w 1779512"/>
                <a:gd name="connsiteY4" fmla="*/ 0 h 1779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512" h="1779511">
                  <a:moveTo>
                    <a:pt x="889756" y="0"/>
                  </a:moveTo>
                  <a:cubicBezTo>
                    <a:pt x="1381155" y="0"/>
                    <a:pt x="1779512" y="398358"/>
                    <a:pt x="1779512" y="889756"/>
                  </a:cubicBezTo>
                  <a:cubicBezTo>
                    <a:pt x="1779512" y="1381154"/>
                    <a:pt x="1381155" y="1779511"/>
                    <a:pt x="889756" y="1779511"/>
                  </a:cubicBezTo>
                  <a:cubicBezTo>
                    <a:pt x="398359" y="1779511"/>
                    <a:pt x="0" y="1381154"/>
                    <a:pt x="0" y="889756"/>
                  </a:cubicBezTo>
                  <a:cubicBezTo>
                    <a:pt x="0" y="398358"/>
                    <a:pt x="398359" y="0"/>
                    <a:pt x="889756" y="0"/>
                  </a:cubicBezTo>
                  <a:close/>
                </a:path>
              </a:pathLst>
            </a:custGeom>
          </p:spPr>
        </p:pic>
        <p:sp>
          <p:nvSpPr>
            <p:cNvPr id="13" name="Arc 26">
              <a:extLst>
                <a:ext uri="{FF2B5EF4-FFF2-40B4-BE49-F238E27FC236}">
                  <a16:creationId xmlns:a16="http://schemas.microsoft.com/office/drawing/2014/main" id="{30FA0C43-28AA-4BE1-8486-393BD4BF7453}"/>
                </a:ext>
              </a:extLst>
            </p:cNvPr>
            <p:cNvSpPr/>
            <p:nvPr/>
          </p:nvSpPr>
          <p:spPr bwMode="auto">
            <a:xfrm>
              <a:off x="3554193" y="1377188"/>
              <a:ext cx="2392582" cy="2392576"/>
            </a:xfrm>
            <a:prstGeom prst="arc">
              <a:avLst>
                <a:gd name="adj1" fmla="val 5831787"/>
                <a:gd name="adj2" fmla="val 0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14" name="Arc 27">
              <a:extLst>
                <a:ext uri="{FF2B5EF4-FFF2-40B4-BE49-F238E27FC236}">
                  <a16:creationId xmlns:a16="http://schemas.microsoft.com/office/drawing/2014/main" id="{FE2A66BF-BE35-4DAD-8659-8C8D6D58055A}"/>
                </a:ext>
              </a:extLst>
            </p:cNvPr>
            <p:cNvSpPr/>
            <p:nvPr/>
          </p:nvSpPr>
          <p:spPr bwMode="auto">
            <a:xfrm>
              <a:off x="3697467" y="1520462"/>
              <a:ext cx="2106035" cy="2106029"/>
            </a:xfrm>
            <a:prstGeom prst="arc">
              <a:avLst>
                <a:gd name="adj1" fmla="val 15932152"/>
                <a:gd name="adj2" fmla="val 8858699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15" name="Group 64">
            <a:extLst>
              <a:ext uri="{FF2B5EF4-FFF2-40B4-BE49-F238E27FC236}">
                <a16:creationId xmlns:a16="http://schemas.microsoft.com/office/drawing/2014/main" id="{F38160D1-515D-4470-92CD-6CA202E3140B}"/>
              </a:ext>
            </a:extLst>
          </p:cNvPr>
          <p:cNvGrpSpPr/>
          <p:nvPr/>
        </p:nvGrpSpPr>
        <p:grpSpPr>
          <a:xfrm>
            <a:off x="3502586" y="3884602"/>
            <a:ext cx="2410291" cy="2288709"/>
            <a:chOff x="3572820" y="3962000"/>
            <a:chExt cx="2458622" cy="2334602"/>
          </a:xfrm>
        </p:grpSpPr>
        <p:sp>
          <p:nvSpPr>
            <p:cNvPr id="16" name="Rectangle 50">
              <a:extLst>
                <a:ext uri="{FF2B5EF4-FFF2-40B4-BE49-F238E27FC236}">
                  <a16:creationId xmlns:a16="http://schemas.microsoft.com/office/drawing/2014/main" id="{669A0799-0055-41E3-B447-F9698606217A}"/>
                </a:ext>
              </a:extLst>
            </p:cNvPr>
            <p:cNvSpPr/>
            <p:nvPr/>
          </p:nvSpPr>
          <p:spPr bwMode="auto">
            <a:xfrm>
              <a:off x="3940394" y="3962000"/>
              <a:ext cx="1723474" cy="68952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30" tIns="44814" rIns="89630" bIns="448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7009" fontAlgn="base">
                <a:spcBef>
                  <a:spcPts val="294"/>
                </a:spcBef>
                <a:spcAft>
                  <a:spcPct val="0"/>
                </a:spcAft>
                <a:defRPr/>
              </a:pPr>
              <a:r>
                <a:rPr lang="de-DE" sz="1765" kern="0" dirty="0">
                  <a:solidFill>
                    <a:srgbClr val="C0000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ynamische Arbeitsplätze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7F84FD0-E9CC-4614-A88A-BD215C30FB8F}"/>
                </a:ext>
              </a:extLst>
            </p:cNvPr>
            <p:cNvSpPr/>
            <p:nvPr/>
          </p:nvSpPr>
          <p:spPr bwMode="auto">
            <a:xfrm>
              <a:off x="3572820" y="4746169"/>
              <a:ext cx="2458622" cy="155043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44814" rIns="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Fusionen und Übernahmen
 Befristete Arbeitsverträge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Freelancer und Partner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18" name="Group 46">
            <a:extLst>
              <a:ext uri="{FF2B5EF4-FFF2-40B4-BE49-F238E27FC236}">
                <a16:creationId xmlns:a16="http://schemas.microsoft.com/office/drawing/2014/main" id="{387804A7-02D9-4E89-8B0C-74A287D23EEC}"/>
              </a:ext>
            </a:extLst>
          </p:cNvPr>
          <p:cNvGrpSpPr/>
          <p:nvPr/>
        </p:nvGrpSpPr>
        <p:grpSpPr>
          <a:xfrm>
            <a:off x="6492122" y="1350602"/>
            <a:ext cx="2345549" cy="2345543"/>
            <a:chOff x="6579968" y="1377188"/>
            <a:chExt cx="2392582" cy="2392576"/>
          </a:xfrm>
        </p:grpSpPr>
        <p:pic>
          <p:nvPicPr>
            <p:cNvPr id="19" name="Picture 41" descr="A person sitting on a bench in front of a window&#10;&#10;Description generated with high confidence">
              <a:extLst>
                <a:ext uri="{FF2B5EF4-FFF2-40B4-BE49-F238E27FC236}">
                  <a16:creationId xmlns:a16="http://schemas.microsoft.com/office/drawing/2014/main" id="{E2180011-82B9-473B-BF76-DD4E68CA6F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7" t="3113" r="2343" b="1818"/>
            <a:stretch/>
          </p:blipFill>
          <p:spPr>
            <a:xfrm>
              <a:off x="6855734" y="1683720"/>
              <a:ext cx="1779512" cy="1779511"/>
            </a:xfrm>
            <a:custGeom>
              <a:avLst/>
              <a:gdLst>
                <a:gd name="connsiteX0" fmla="*/ 889756 w 1779512"/>
                <a:gd name="connsiteY0" fmla="*/ 0 h 1779511"/>
                <a:gd name="connsiteX1" fmla="*/ 1779512 w 1779512"/>
                <a:gd name="connsiteY1" fmla="*/ 889756 h 1779511"/>
                <a:gd name="connsiteX2" fmla="*/ 889756 w 1779512"/>
                <a:gd name="connsiteY2" fmla="*/ 1779511 h 1779511"/>
                <a:gd name="connsiteX3" fmla="*/ 0 w 1779512"/>
                <a:gd name="connsiteY3" fmla="*/ 889756 h 1779511"/>
                <a:gd name="connsiteX4" fmla="*/ 889756 w 1779512"/>
                <a:gd name="connsiteY4" fmla="*/ 0 h 1779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512" h="1779511">
                  <a:moveTo>
                    <a:pt x="889756" y="0"/>
                  </a:moveTo>
                  <a:cubicBezTo>
                    <a:pt x="1381155" y="0"/>
                    <a:pt x="1779512" y="398358"/>
                    <a:pt x="1779512" y="889756"/>
                  </a:cubicBezTo>
                  <a:cubicBezTo>
                    <a:pt x="1779512" y="1381154"/>
                    <a:pt x="1381155" y="1779511"/>
                    <a:pt x="889756" y="1779511"/>
                  </a:cubicBezTo>
                  <a:cubicBezTo>
                    <a:pt x="398359" y="1779511"/>
                    <a:pt x="0" y="1381154"/>
                    <a:pt x="0" y="889756"/>
                  </a:cubicBezTo>
                  <a:cubicBezTo>
                    <a:pt x="0" y="398358"/>
                    <a:pt x="398359" y="0"/>
                    <a:pt x="889756" y="0"/>
                  </a:cubicBezTo>
                  <a:close/>
                </a:path>
              </a:pathLst>
            </a:custGeom>
          </p:spPr>
        </p:pic>
        <p:sp>
          <p:nvSpPr>
            <p:cNvPr id="20" name="Arc 28">
              <a:extLst>
                <a:ext uri="{FF2B5EF4-FFF2-40B4-BE49-F238E27FC236}">
                  <a16:creationId xmlns:a16="http://schemas.microsoft.com/office/drawing/2014/main" id="{7B03EB7E-6183-4A23-A458-9783F6D9A5FA}"/>
                </a:ext>
              </a:extLst>
            </p:cNvPr>
            <p:cNvSpPr/>
            <p:nvPr/>
          </p:nvSpPr>
          <p:spPr bwMode="auto">
            <a:xfrm>
              <a:off x="6579968" y="1377188"/>
              <a:ext cx="2392582" cy="2392576"/>
            </a:xfrm>
            <a:prstGeom prst="arc">
              <a:avLst>
                <a:gd name="adj1" fmla="val 5831787"/>
                <a:gd name="adj2" fmla="val 0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1" name="Arc 29">
              <a:extLst>
                <a:ext uri="{FF2B5EF4-FFF2-40B4-BE49-F238E27FC236}">
                  <a16:creationId xmlns:a16="http://schemas.microsoft.com/office/drawing/2014/main" id="{ACE6FC67-5D12-4B15-99ED-366DB4829669}"/>
                </a:ext>
              </a:extLst>
            </p:cNvPr>
            <p:cNvSpPr/>
            <p:nvPr/>
          </p:nvSpPr>
          <p:spPr bwMode="auto">
            <a:xfrm>
              <a:off x="6723242" y="1520462"/>
              <a:ext cx="2106035" cy="2106029"/>
            </a:xfrm>
            <a:prstGeom prst="arc">
              <a:avLst>
                <a:gd name="adj1" fmla="val 15932152"/>
                <a:gd name="adj2" fmla="val 8858699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2" name="Group 65">
            <a:extLst>
              <a:ext uri="{FF2B5EF4-FFF2-40B4-BE49-F238E27FC236}">
                <a16:creationId xmlns:a16="http://schemas.microsoft.com/office/drawing/2014/main" id="{9D8A427C-C659-450E-8501-70A985671F32}"/>
              </a:ext>
            </a:extLst>
          </p:cNvPr>
          <p:cNvGrpSpPr/>
          <p:nvPr/>
        </p:nvGrpSpPr>
        <p:grpSpPr>
          <a:xfrm>
            <a:off x="6459751" y="3882056"/>
            <a:ext cx="2410291" cy="2288709"/>
            <a:chOff x="6589282" y="3959403"/>
            <a:chExt cx="2458622" cy="2334602"/>
          </a:xfrm>
        </p:grpSpPr>
        <p:sp>
          <p:nvSpPr>
            <p:cNvPr id="23" name="Rectangle 52">
              <a:extLst>
                <a:ext uri="{FF2B5EF4-FFF2-40B4-BE49-F238E27FC236}">
                  <a16:creationId xmlns:a16="http://schemas.microsoft.com/office/drawing/2014/main" id="{6CD8439E-C573-4124-8B3F-81DB76E8B666}"/>
                </a:ext>
              </a:extLst>
            </p:cNvPr>
            <p:cNvSpPr/>
            <p:nvPr/>
          </p:nvSpPr>
          <p:spPr bwMode="auto">
            <a:xfrm>
              <a:off x="6956856" y="3959403"/>
              <a:ext cx="1723474" cy="68952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30" tIns="44814" rIns="89630" bIns="448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7009" fontAlgn="base">
                <a:spcBef>
                  <a:spcPts val="294"/>
                </a:spcBef>
                <a:spcAft>
                  <a:spcPct val="0"/>
                </a:spcAft>
                <a:defRPr/>
              </a:pPr>
              <a:r>
                <a:rPr lang="de-DE" sz="1765" kern="0" dirty="0">
                  <a:solidFill>
                    <a:srgbClr val="C0000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pezifische Benutzerrollen</a:t>
              </a:r>
            </a:p>
          </p:txBody>
        </p:sp>
        <p:sp>
          <p:nvSpPr>
            <p:cNvPr id="24" name="Rectangle 53">
              <a:extLst>
                <a:ext uri="{FF2B5EF4-FFF2-40B4-BE49-F238E27FC236}">
                  <a16:creationId xmlns:a16="http://schemas.microsoft.com/office/drawing/2014/main" id="{99E5BCE7-6BFE-40B3-AFDA-BE238F9A8199}"/>
                </a:ext>
              </a:extLst>
            </p:cNvPr>
            <p:cNvSpPr/>
            <p:nvPr/>
          </p:nvSpPr>
          <p:spPr bwMode="auto">
            <a:xfrm>
              <a:off x="6589282" y="4743572"/>
              <a:ext cx="2458622" cy="155043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44814" rIns="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Mobile Zugriffe und BYOD</a:t>
              </a: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 Callcenter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 err="1">
                  <a:solidFill>
                    <a:schemeClr val="bg1"/>
                  </a:solidFill>
                  <a:cs typeface="Segoe UI Semilight" panose="020B0402040204020203" pitchFamily="34" charset="0"/>
                </a:rPr>
                <a:t>Außen-und</a:t>
              </a: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 Geschäftsstellen 
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25" name="Group 47">
            <a:extLst>
              <a:ext uri="{FF2B5EF4-FFF2-40B4-BE49-F238E27FC236}">
                <a16:creationId xmlns:a16="http://schemas.microsoft.com/office/drawing/2014/main" id="{8C96BA7F-C1AA-4579-8365-F93F56B9BF2A}"/>
              </a:ext>
            </a:extLst>
          </p:cNvPr>
          <p:cNvGrpSpPr/>
          <p:nvPr/>
        </p:nvGrpSpPr>
        <p:grpSpPr>
          <a:xfrm>
            <a:off x="9449286" y="1350602"/>
            <a:ext cx="2345549" cy="2345543"/>
            <a:chOff x="9605743" y="1377188"/>
            <a:chExt cx="2392582" cy="2392576"/>
          </a:xfrm>
        </p:grpSpPr>
        <p:pic>
          <p:nvPicPr>
            <p:cNvPr id="26" name="Picture 43" descr="A person standing in a kitchen&#10;&#10;Description generated with high confidence">
              <a:extLst>
                <a:ext uri="{FF2B5EF4-FFF2-40B4-BE49-F238E27FC236}">
                  <a16:creationId xmlns:a16="http://schemas.microsoft.com/office/drawing/2014/main" id="{95B52EB3-5B5E-4DB8-95E0-B43A388FA4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92" t="4584" r="5571" b="6215"/>
            <a:stretch/>
          </p:blipFill>
          <p:spPr>
            <a:xfrm>
              <a:off x="9881509" y="1683720"/>
              <a:ext cx="1779512" cy="1779511"/>
            </a:xfrm>
            <a:custGeom>
              <a:avLst/>
              <a:gdLst>
                <a:gd name="connsiteX0" fmla="*/ 889756 w 1779512"/>
                <a:gd name="connsiteY0" fmla="*/ 0 h 1779511"/>
                <a:gd name="connsiteX1" fmla="*/ 1779512 w 1779512"/>
                <a:gd name="connsiteY1" fmla="*/ 889756 h 1779511"/>
                <a:gd name="connsiteX2" fmla="*/ 889756 w 1779512"/>
                <a:gd name="connsiteY2" fmla="*/ 1779511 h 1779511"/>
                <a:gd name="connsiteX3" fmla="*/ 0 w 1779512"/>
                <a:gd name="connsiteY3" fmla="*/ 889756 h 1779511"/>
                <a:gd name="connsiteX4" fmla="*/ 889756 w 1779512"/>
                <a:gd name="connsiteY4" fmla="*/ 0 h 1779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512" h="1779511">
                  <a:moveTo>
                    <a:pt x="889756" y="0"/>
                  </a:moveTo>
                  <a:cubicBezTo>
                    <a:pt x="1381154" y="0"/>
                    <a:pt x="1779512" y="398358"/>
                    <a:pt x="1779512" y="889756"/>
                  </a:cubicBezTo>
                  <a:cubicBezTo>
                    <a:pt x="1779512" y="1381154"/>
                    <a:pt x="1381154" y="1779511"/>
                    <a:pt x="889756" y="1779511"/>
                  </a:cubicBezTo>
                  <a:cubicBezTo>
                    <a:pt x="398358" y="1779511"/>
                    <a:pt x="0" y="1381154"/>
                    <a:pt x="0" y="889756"/>
                  </a:cubicBezTo>
                  <a:cubicBezTo>
                    <a:pt x="0" y="398358"/>
                    <a:pt x="398358" y="0"/>
                    <a:pt x="889756" y="0"/>
                  </a:cubicBezTo>
                  <a:close/>
                </a:path>
              </a:pathLst>
            </a:custGeom>
          </p:spPr>
        </p:pic>
        <p:sp>
          <p:nvSpPr>
            <p:cNvPr id="27" name="Arc 30">
              <a:extLst>
                <a:ext uri="{FF2B5EF4-FFF2-40B4-BE49-F238E27FC236}">
                  <a16:creationId xmlns:a16="http://schemas.microsoft.com/office/drawing/2014/main" id="{A1270B44-1481-4931-BD47-DBFC473E5556}"/>
                </a:ext>
              </a:extLst>
            </p:cNvPr>
            <p:cNvSpPr/>
            <p:nvPr/>
          </p:nvSpPr>
          <p:spPr bwMode="auto">
            <a:xfrm>
              <a:off x="9605743" y="1377188"/>
              <a:ext cx="2392582" cy="2392576"/>
            </a:xfrm>
            <a:prstGeom prst="arc">
              <a:avLst>
                <a:gd name="adj1" fmla="val 5831787"/>
                <a:gd name="adj2" fmla="val 0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" name="Arc 31">
              <a:extLst>
                <a:ext uri="{FF2B5EF4-FFF2-40B4-BE49-F238E27FC236}">
                  <a16:creationId xmlns:a16="http://schemas.microsoft.com/office/drawing/2014/main" id="{CDABE358-71C1-44B3-9871-FFEBA815911F}"/>
                </a:ext>
              </a:extLst>
            </p:cNvPr>
            <p:cNvSpPr/>
            <p:nvPr/>
          </p:nvSpPr>
          <p:spPr bwMode="auto">
            <a:xfrm>
              <a:off x="9749017" y="1520462"/>
              <a:ext cx="2106035" cy="2106029"/>
            </a:xfrm>
            <a:prstGeom prst="arc">
              <a:avLst>
                <a:gd name="adj1" fmla="val 15932152"/>
                <a:gd name="adj2" fmla="val 8858699"/>
              </a:avLst>
            </a:prstGeom>
            <a:noFill/>
            <a:ln w="3175"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txBody>
            <a:bodyPr wrap="square" lIns="175761" tIns="140609" rIns="175761" bIns="140609" rtlCol="0">
              <a:noAutofit/>
            </a:bodyPr>
            <a:lstStyle/>
            <a:p>
              <a:pPr defTabSz="896386">
                <a:defRPr/>
              </a:pPr>
              <a:endParaRPr lang="de-DE" sz="1730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9" name="Group 66">
            <a:extLst>
              <a:ext uri="{FF2B5EF4-FFF2-40B4-BE49-F238E27FC236}">
                <a16:creationId xmlns:a16="http://schemas.microsoft.com/office/drawing/2014/main" id="{3EE73D8B-E6B3-4B9E-906D-7F2B474DB176}"/>
              </a:ext>
            </a:extLst>
          </p:cNvPr>
          <p:cNvGrpSpPr/>
          <p:nvPr/>
        </p:nvGrpSpPr>
        <p:grpSpPr>
          <a:xfrm>
            <a:off x="9416915" y="3882056"/>
            <a:ext cx="2410291" cy="2288709"/>
            <a:chOff x="9605743" y="3959403"/>
            <a:chExt cx="2458622" cy="2334602"/>
          </a:xfrm>
        </p:grpSpPr>
        <p:sp>
          <p:nvSpPr>
            <p:cNvPr id="30" name="Rectangle 54">
              <a:extLst>
                <a:ext uri="{FF2B5EF4-FFF2-40B4-BE49-F238E27FC236}">
                  <a16:creationId xmlns:a16="http://schemas.microsoft.com/office/drawing/2014/main" id="{DF5BC23D-C1F0-4065-B669-4D8259CECC6D}"/>
                </a:ext>
              </a:extLst>
            </p:cNvPr>
            <p:cNvSpPr/>
            <p:nvPr/>
          </p:nvSpPr>
          <p:spPr bwMode="auto">
            <a:xfrm>
              <a:off x="9914529" y="3959403"/>
              <a:ext cx="1779511" cy="68952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30" tIns="44814" rIns="89630" bIns="448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7009" fontAlgn="base">
                <a:spcBef>
                  <a:spcPts val="294"/>
                </a:spcBef>
                <a:spcAft>
                  <a:spcPct val="0"/>
                </a:spcAft>
                <a:defRPr/>
              </a:pPr>
              <a:r>
                <a:rPr lang="de-DE" sz="1765" kern="0" dirty="0">
                  <a:solidFill>
                    <a:srgbClr val="C00000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pezielle Anforderungen</a:t>
              </a:r>
            </a:p>
          </p:txBody>
        </p:sp>
        <p:sp>
          <p:nvSpPr>
            <p:cNvPr id="31" name="Rectangle 55">
              <a:extLst>
                <a:ext uri="{FF2B5EF4-FFF2-40B4-BE49-F238E27FC236}">
                  <a16:creationId xmlns:a16="http://schemas.microsoft.com/office/drawing/2014/main" id="{8AABF8FF-763F-41CB-8FD7-A83563712736}"/>
                </a:ext>
              </a:extLst>
            </p:cNvPr>
            <p:cNvSpPr/>
            <p:nvPr/>
          </p:nvSpPr>
          <p:spPr bwMode="auto">
            <a:xfrm>
              <a:off x="9605743" y="4743572"/>
              <a:ext cx="2458622" cy="1550433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44814" rIns="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Design und Entwicklung</a:t>
              </a: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Anwendungskompatibilität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  <a:p>
              <a:pPr algn="ctr" defTabSz="913698">
                <a:spcBef>
                  <a:spcPts val="1174"/>
                </a:spcBef>
                <a:defRPr/>
              </a:pPr>
              <a:r>
                <a:rPr lang="de-DE" sz="1568" dirty="0">
                  <a:solidFill>
                    <a:schemeClr val="bg1"/>
                  </a:solidFill>
                  <a:cs typeface="Segoe UI Semilight" panose="020B0402040204020203" pitchFamily="34" charset="0"/>
                </a:rPr>
                <a:t>Softwaretest und -entwicklung 
</a:t>
              </a:r>
              <a:endParaRPr lang="de-DE" sz="1568" dirty="0">
                <a:solidFill>
                  <a:schemeClr val="bg1"/>
                </a:solidFill>
                <a:latin typeface="Segoe UI"/>
                <a:cs typeface="Segoe UI Semilight" panose="020B0402040204020203" pitchFamily="34" charset="0"/>
              </a:endParaRPr>
            </a:p>
          </p:txBody>
        </p:sp>
      </p:grpSp>
      <p:cxnSp>
        <p:nvCxnSpPr>
          <p:cNvPr id="32" name="Straight Connector 60">
            <a:extLst>
              <a:ext uri="{FF2B5EF4-FFF2-40B4-BE49-F238E27FC236}">
                <a16:creationId xmlns:a16="http://schemas.microsoft.com/office/drawing/2014/main" id="{809165BD-AF44-433C-80F2-0A50C7BB5077}"/>
              </a:ext>
            </a:extLst>
          </p:cNvPr>
          <p:cNvCxnSpPr>
            <a:cxnSpLocks/>
          </p:cNvCxnSpPr>
          <p:nvPr/>
        </p:nvCxnSpPr>
        <p:spPr>
          <a:xfrm>
            <a:off x="3229149" y="4232454"/>
            <a:ext cx="0" cy="145467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headEnd type="oval" w="sm" len="sm"/>
            <a:tailEnd type="oval" w="sm" len="sm"/>
          </a:ln>
        </p:spPr>
      </p:cxnSp>
      <p:cxnSp>
        <p:nvCxnSpPr>
          <p:cNvPr id="33" name="Straight Connector 61">
            <a:extLst>
              <a:ext uri="{FF2B5EF4-FFF2-40B4-BE49-F238E27FC236}">
                <a16:creationId xmlns:a16="http://schemas.microsoft.com/office/drawing/2014/main" id="{14D541BD-8981-425A-ADDC-885961CF8F8D}"/>
              </a:ext>
            </a:extLst>
          </p:cNvPr>
          <p:cNvCxnSpPr>
            <a:cxnSpLocks/>
          </p:cNvCxnSpPr>
          <p:nvPr/>
        </p:nvCxnSpPr>
        <p:spPr>
          <a:xfrm>
            <a:off x="6186314" y="4232454"/>
            <a:ext cx="0" cy="145467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headEnd type="oval" w="sm" len="sm"/>
            <a:tailEnd type="oval" w="sm" len="sm"/>
          </a:ln>
        </p:spPr>
      </p:cxnSp>
      <p:cxnSp>
        <p:nvCxnSpPr>
          <p:cNvPr id="34" name="Straight Connector 62">
            <a:extLst>
              <a:ext uri="{FF2B5EF4-FFF2-40B4-BE49-F238E27FC236}">
                <a16:creationId xmlns:a16="http://schemas.microsoft.com/office/drawing/2014/main" id="{1B502B95-6F03-46AF-A6EC-F76217037DA0}"/>
              </a:ext>
            </a:extLst>
          </p:cNvPr>
          <p:cNvCxnSpPr>
            <a:cxnSpLocks/>
          </p:cNvCxnSpPr>
          <p:nvPr/>
        </p:nvCxnSpPr>
        <p:spPr>
          <a:xfrm>
            <a:off x="9143479" y="4232454"/>
            <a:ext cx="0" cy="145467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headEnd type="oval" w="sm" len="sm"/>
            <a:tailEnd type="oval" w="sm" len="sm"/>
          </a:ln>
        </p:spPr>
      </p:cxnSp>
    </p:spTree>
    <p:extLst>
      <p:ext uri="{BB962C8B-B14F-4D97-AF65-F5344CB8AC3E}">
        <p14:creationId xmlns:p14="http://schemas.microsoft.com/office/powerpoint/2010/main" val="1066829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0760A8-0CD4-4E29-A2F5-2A106BCDE3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Pain / Frag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575CC-0C53-49AF-A1D9-6FF566296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649872092"/>
              </p:ext>
            </p:extLst>
          </p:nvPr>
        </p:nvGraphicFramePr>
        <p:xfrm>
          <a:off x="1832158" y="1451224"/>
          <a:ext cx="8534219" cy="4854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920124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DB97EBA-BF1F-49FC-B325-6F54FACE76A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35976" y="1271850"/>
            <a:ext cx="2715454" cy="4928782"/>
          </a:xfrm>
          <a:prstGeom prst="rect">
            <a:avLst/>
          </a:prstGeom>
        </p:spPr>
      </p:pic>
      <p:pic>
        <p:nvPicPr>
          <p:cNvPr id="25" name="Picture 2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43CE00BB-1254-4BB1-89C5-F386EFE330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1890" y="1271850"/>
            <a:ext cx="2716286" cy="4928782"/>
          </a:xfrm>
          <a:prstGeom prst="rect">
            <a:avLst/>
          </a:prstGeom>
        </p:spPr>
      </p:pic>
      <p:pic>
        <p:nvPicPr>
          <p:cNvPr id="26" name="Picture 25" descr="A person using a computer&#10;&#10;Description generated with very high confidence">
            <a:extLst>
              <a:ext uri="{FF2B5EF4-FFF2-40B4-BE49-F238E27FC236}">
                <a16:creationId xmlns:a16="http://schemas.microsoft.com/office/drawing/2014/main" id="{7753A479-7412-4D21-934E-3A93A0D135C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8396" y="1271850"/>
            <a:ext cx="2701959" cy="4928782"/>
          </a:xfrm>
          <a:prstGeom prst="rect">
            <a:avLst/>
          </a:prstGeom>
        </p:spPr>
      </p:pic>
      <p:pic>
        <p:nvPicPr>
          <p:cNvPr id="27" name="Picture 26" descr="A group of people in a kitchen&#10;&#10;Description automatically generated">
            <a:extLst>
              <a:ext uri="{FF2B5EF4-FFF2-40B4-BE49-F238E27FC236}">
                <a16:creationId xmlns:a16="http://schemas.microsoft.com/office/drawing/2014/main" id="{4015FB41-CCB4-4426-A1CA-675BCA30C1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7321" y="1271850"/>
            <a:ext cx="2716286" cy="4922554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1F7A95-5D69-45AE-8474-07F7B6E785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indows Virtual Desktop - </a:t>
            </a:r>
            <a:r>
              <a:rPr lang="en-US" dirty="0" err="1"/>
              <a:t>Produktübersicht</a:t>
            </a:r>
            <a:endParaRPr lang="de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7B5FFA-C418-4A6B-BE65-9586F3B6D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7F6A7D-9614-4CD8-9847-8E7D3C0786A4}"/>
              </a:ext>
            </a:extLst>
          </p:cNvPr>
          <p:cNvSpPr/>
          <p:nvPr/>
        </p:nvSpPr>
        <p:spPr bwMode="auto">
          <a:xfrm>
            <a:off x="435144" y="3318376"/>
            <a:ext cx="2716286" cy="288225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5711" tIns="1792850" rIns="175711" bIns="351421" numCol="1" rtlCol="0" anchor="t" anchorCtr="0" compatLnSpc="1">
            <a:prstTxWarp prst="textNoShape">
              <a:avLst/>
            </a:prstTxWarp>
          </a:bodyPr>
          <a:lstStyle/>
          <a:p>
            <a:pPr algn="ctr" defTabSz="895235" fontAlgn="base">
              <a:lnSpc>
                <a:spcPct val="95000"/>
              </a:lnSpc>
              <a:spcBef>
                <a:spcPct val="0"/>
              </a:spcBef>
              <a:defRPr/>
            </a:pPr>
            <a:r>
              <a:rPr lang="de-DE" kern="0" spc="-49" dirty="0">
                <a:solidFill>
                  <a:srgbClr val="FFFFFF"/>
                </a:solidFill>
                <a:latin typeface="Segoe UI Semibold" panose="020B0702040204020203" pitchFamily="34" charset="0"/>
                <a:ea typeface="Segoe UI Emoji" panose="020B0502040204020203" pitchFamily="34" charset="0"/>
                <a:cs typeface="Segoe UI Semibold" panose="020B0702040204020203" pitchFamily="34" charset="0"/>
              </a:rPr>
              <a:t>Vollständige Windows 10 und Office 365 Erfahrung
</a:t>
            </a:r>
            <a:endParaRPr lang="en-US" kern="0" spc="-49" dirty="0">
              <a:solidFill>
                <a:srgbClr val="FFFFFF"/>
              </a:solidFill>
              <a:latin typeface="Segoe UI Semibold" panose="020B0702040204020203" pitchFamily="34" charset="0"/>
              <a:ea typeface="Segoe UI Emoj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D30583-A9ED-46C5-9BCA-F9EF68AD83C4}"/>
              </a:ext>
            </a:extLst>
          </p:cNvPr>
          <p:cNvSpPr/>
          <p:nvPr/>
        </p:nvSpPr>
        <p:spPr bwMode="auto">
          <a:xfrm>
            <a:off x="3308396" y="3318376"/>
            <a:ext cx="2716286" cy="288225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5711" tIns="1792850" rIns="175711" bIns="351421" numCol="1" rtlCol="0" anchor="t" anchorCtr="0" compatLnSpc="1">
            <a:prstTxWarp prst="textNoShape">
              <a:avLst/>
            </a:prstTxWarp>
          </a:bodyPr>
          <a:lstStyle/>
          <a:p>
            <a:pPr algn="ctr" defTabSz="895235" fontAlgn="base">
              <a:lnSpc>
                <a:spcPct val="95000"/>
              </a:lnSpc>
              <a:spcBef>
                <a:spcPct val="0"/>
              </a:spcBef>
              <a:defRPr/>
            </a:pPr>
            <a:r>
              <a:rPr lang="de-DE" kern="0" spc="-49" dirty="0">
                <a:solidFill>
                  <a:srgbClr val="FFFFFF"/>
                </a:solidFill>
                <a:latin typeface="Segoe UI Semibold" panose="020B0702040204020203" pitchFamily="34" charset="0"/>
                <a:ea typeface="Segoe UI Emoji" panose="020B0502040204020203" pitchFamily="34" charset="0"/>
                <a:cs typeface="Segoe UI Semibold" panose="020B0702040204020203" pitchFamily="34" charset="0"/>
              </a:rPr>
              <a:t>Optimiert für Office 365 ProPlus
</a:t>
            </a:r>
            <a:endParaRPr lang="en-US" kern="0" spc="-49" dirty="0">
              <a:solidFill>
                <a:srgbClr val="FFFFFF"/>
              </a:solidFill>
              <a:latin typeface="Segoe UI Semibold" panose="020B0702040204020203" pitchFamily="34" charset="0"/>
              <a:ea typeface="Segoe UI Emoj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0B19E33-390C-458F-988A-CD6E65E17385}"/>
              </a:ext>
            </a:extLst>
          </p:cNvPr>
          <p:cNvSpPr/>
          <p:nvPr/>
        </p:nvSpPr>
        <p:spPr bwMode="auto">
          <a:xfrm>
            <a:off x="6181647" y="3318376"/>
            <a:ext cx="2716286" cy="288225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5711" tIns="1792850" rIns="175711" bIns="351421" numCol="1" rtlCol="0" anchor="t" anchorCtr="0" compatLnSpc="1">
            <a:prstTxWarp prst="textNoShape">
              <a:avLst/>
            </a:prstTxWarp>
          </a:bodyPr>
          <a:lstStyle/>
          <a:p>
            <a:pPr algn="ctr" defTabSz="895235" fontAlgn="base">
              <a:lnSpc>
                <a:spcPct val="95000"/>
              </a:lnSpc>
              <a:spcBef>
                <a:spcPct val="0"/>
              </a:spcBef>
            </a:pPr>
            <a:r>
              <a:rPr lang="de-DE" kern="0" spc="-49" dirty="0">
                <a:solidFill>
                  <a:srgbClr val="FFFFFF"/>
                </a:solidFill>
                <a:latin typeface="Segoe UI Semibold" panose="020B0702040204020203" pitchFamily="34" charset="0"/>
                <a:ea typeface="Segoe UI Emoji" panose="020B0502040204020203" pitchFamily="34" charset="0"/>
                <a:cs typeface="Segoe UI Semibold" panose="020B0702040204020203" pitchFamily="34" charset="0"/>
              </a:rPr>
              <a:t>Migrieren Ihrer vorhandenen Windows Server-Umgebung (RDS) zu Azure
</a:t>
            </a:r>
            <a:endParaRPr lang="en-US" kern="0" spc="-49" dirty="0">
              <a:solidFill>
                <a:srgbClr val="FFFFFF"/>
              </a:solidFill>
              <a:latin typeface="Segoe UI Semibold" panose="020B0702040204020203" pitchFamily="34" charset="0"/>
              <a:ea typeface="Segoe UI Emoj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95B0AD-D731-4EB4-93C5-B1717F50289C}"/>
              </a:ext>
            </a:extLst>
          </p:cNvPr>
          <p:cNvSpPr/>
          <p:nvPr/>
        </p:nvSpPr>
        <p:spPr bwMode="auto">
          <a:xfrm>
            <a:off x="9054897" y="3318376"/>
            <a:ext cx="2716286" cy="288225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5711" tIns="1792850" rIns="175711" bIns="351421" numCol="1" rtlCol="0" anchor="t" anchorCtr="0" compatLnSpc="1">
            <a:prstTxWarp prst="textNoShape">
              <a:avLst/>
            </a:prstTxWarp>
          </a:bodyPr>
          <a:lstStyle/>
          <a:p>
            <a:pPr algn="ctr" defTabSz="895235" fontAlgn="base">
              <a:lnSpc>
                <a:spcPct val="95000"/>
              </a:lnSpc>
              <a:spcBef>
                <a:spcPct val="0"/>
              </a:spcBef>
              <a:defRPr/>
            </a:pPr>
            <a:r>
              <a:rPr lang="de-DE" kern="0" spc="-49" dirty="0">
                <a:solidFill>
                  <a:srgbClr val="FFFFFF"/>
                </a:solidFill>
                <a:latin typeface="Segoe UI Semibold" panose="020B0702040204020203" pitchFamily="34" charset="0"/>
                <a:ea typeface="Segoe UI Emoji" panose="020B0502040204020203" pitchFamily="34" charset="0"/>
                <a:cs typeface="Segoe UI Semibold" panose="020B0702040204020203" pitchFamily="34" charset="0"/>
              </a:rPr>
              <a:t>Bereitstellen und Skalieren 
in Minuten
</a:t>
            </a:r>
            <a:endParaRPr lang="en-US" kern="0" spc="-49" dirty="0">
              <a:solidFill>
                <a:srgbClr val="FFFFFF"/>
              </a:solidFill>
              <a:latin typeface="Segoe UI Semibold" panose="020B0702040204020203" pitchFamily="34" charset="0"/>
              <a:ea typeface="Segoe UI Emoji" panose="020B05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29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A8FCCC-6D8E-4E4D-A0F1-8CD0C9DAF0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7" y="2044"/>
          <a:ext cx="1557" cy="15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A8FCCC-6D8E-4E4D-A0F1-8CD0C9DAF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2044"/>
                        <a:ext cx="1557" cy="15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4340C6-42DE-4D8E-900A-015F3A7958C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487"/>
            <a:ext cx="155629" cy="155629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36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1CC3C2-87CC-444E-A9A0-BF9BEEF4CD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irtualization Hosts </a:t>
            </a:r>
            <a:r>
              <a:rPr lang="en-US" dirty="0" err="1"/>
              <a:t>heute</a:t>
            </a:r>
            <a:endParaRPr lang="de-AT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166A7CC-1A39-4DFD-A8EA-CF6863B9F9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5CDFF9B-EA3C-4684-8F47-28EC52031C04}"/>
              </a:ext>
            </a:extLst>
          </p:cNvPr>
          <p:cNvSpPr/>
          <p:nvPr/>
        </p:nvSpPr>
        <p:spPr bwMode="auto">
          <a:xfrm>
            <a:off x="434208" y="1634248"/>
            <a:ext cx="4886795" cy="4859982"/>
          </a:xfrm>
          <a:custGeom>
            <a:avLst/>
            <a:gdLst>
              <a:gd name="connsiteX0" fmla="*/ 0 w 2098367"/>
              <a:gd name="connsiteY0" fmla="*/ 0 h 4404240"/>
              <a:gd name="connsiteX1" fmla="*/ 2098367 w 2098367"/>
              <a:gd name="connsiteY1" fmla="*/ 0 h 4404240"/>
              <a:gd name="connsiteX2" fmla="*/ 2098367 w 2098367"/>
              <a:gd name="connsiteY2" fmla="*/ 4404240 h 4404240"/>
              <a:gd name="connsiteX3" fmla="*/ 0 w 2098367"/>
              <a:gd name="connsiteY3" fmla="*/ 4404240 h 4404240"/>
              <a:gd name="connsiteX4" fmla="*/ 0 w 2098367"/>
              <a:gd name="connsiteY4" fmla="*/ 1576447 h 4404240"/>
              <a:gd name="connsiteX5" fmla="*/ 163600 w 2098367"/>
              <a:gd name="connsiteY5" fmla="*/ 1576447 h 4404240"/>
              <a:gd name="connsiteX6" fmla="*/ 163600 w 2098367"/>
              <a:gd name="connsiteY6" fmla="*/ 250567 h 4404240"/>
              <a:gd name="connsiteX7" fmla="*/ 0 w 2098367"/>
              <a:gd name="connsiteY7" fmla="*/ 250567 h 4404240"/>
              <a:gd name="connsiteX8" fmla="*/ 0 w 2098367"/>
              <a:gd name="connsiteY8" fmla="*/ 0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8" fmla="*/ 255040 w 2098367"/>
              <a:gd name="connsiteY8" fmla="*/ 342007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6" fmla="*/ 163600 w 2098367"/>
              <a:gd name="connsiteY6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367" h="4404240">
                <a:moveTo>
                  <a:pt x="0" y="250567"/>
                </a:moveTo>
                <a:lnTo>
                  <a:pt x="0" y="0"/>
                </a:lnTo>
                <a:lnTo>
                  <a:pt x="2098367" y="0"/>
                </a:lnTo>
                <a:lnTo>
                  <a:pt x="2098367" y="440424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882492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176"/>
              </a:spcBef>
            </a:pPr>
            <a:endParaRPr lang="en-US" sz="2353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BAB079-2E74-4B87-BFDC-1CE462C0BB45}"/>
              </a:ext>
            </a:extLst>
          </p:cNvPr>
          <p:cNvGrpSpPr/>
          <p:nvPr/>
        </p:nvGrpSpPr>
        <p:grpSpPr>
          <a:xfrm>
            <a:off x="1" y="1917241"/>
            <a:ext cx="5764955" cy="872123"/>
            <a:chOff x="1" y="1853589"/>
            <a:chExt cx="5880554" cy="889611"/>
          </a:xfrm>
          <a:solidFill>
            <a:schemeClr val="accent5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385FF5B-0D17-4211-A76A-5E8AC4D8B24E}"/>
                </a:ext>
              </a:extLst>
            </p:cNvPr>
            <p:cNvSpPr/>
            <p:nvPr/>
          </p:nvSpPr>
          <p:spPr bwMode="auto">
            <a:xfrm>
              <a:off x="1" y="1853589"/>
              <a:ext cx="5880554" cy="88961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180BC56-D033-4195-AD17-2795E71B3C44}"/>
                </a:ext>
              </a:extLst>
            </p:cNvPr>
            <p:cNvSpPr/>
            <p:nvPr/>
          </p:nvSpPr>
          <p:spPr>
            <a:xfrm>
              <a:off x="607651" y="1990618"/>
              <a:ext cx="4575901" cy="615553"/>
            </a:xfrm>
            <a:prstGeom prst="rect">
              <a:avLst/>
            </a:prstGeom>
            <a:grpFill/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961" kern="0" dirty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indows Server</a:t>
              </a:r>
              <a:br>
                <a:rPr lang="en-US" sz="1961" kern="0" dirty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961" kern="0" dirty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ktop Experience</a:t>
              </a:r>
              <a:endParaRPr lang="en-US" sz="196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48B5E0B-E381-4C96-8979-70F4E8A9B4A8}"/>
              </a:ext>
            </a:extLst>
          </p:cNvPr>
          <p:cNvSpPr/>
          <p:nvPr/>
        </p:nvSpPr>
        <p:spPr bwMode="auto">
          <a:xfrm>
            <a:off x="6886564" y="1634248"/>
            <a:ext cx="4886795" cy="4859982"/>
          </a:xfrm>
          <a:custGeom>
            <a:avLst/>
            <a:gdLst>
              <a:gd name="connsiteX0" fmla="*/ 0 w 2098367"/>
              <a:gd name="connsiteY0" fmla="*/ 0 h 4404240"/>
              <a:gd name="connsiteX1" fmla="*/ 2098367 w 2098367"/>
              <a:gd name="connsiteY1" fmla="*/ 0 h 4404240"/>
              <a:gd name="connsiteX2" fmla="*/ 2098367 w 2098367"/>
              <a:gd name="connsiteY2" fmla="*/ 4404240 h 4404240"/>
              <a:gd name="connsiteX3" fmla="*/ 0 w 2098367"/>
              <a:gd name="connsiteY3" fmla="*/ 4404240 h 4404240"/>
              <a:gd name="connsiteX4" fmla="*/ 0 w 2098367"/>
              <a:gd name="connsiteY4" fmla="*/ 1576447 h 4404240"/>
              <a:gd name="connsiteX5" fmla="*/ 163600 w 2098367"/>
              <a:gd name="connsiteY5" fmla="*/ 1576447 h 4404240"/>
              <a:gd name="connsiteX6" fmla="*/ 163600 w 2098367"/>
              <a:gd name="connsiteY6" fmla="*/ 250567 h 4404240"/>
              <a:gd name="connsiteX7" fmla="*/ 0 w 2098367"/>
              <a:gd name="connsiteY7" fmla="*/ 250567 h 4404240"/>
              <a:gd name="connsiteX8" fmla="*/ 0 w 2098367"/>
              <a:gd name="connsiteY8" fmla="*/ 0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8" fmla="*/ 255040 w 2098367"/>
              <a:gd name="connsiteY8" fmla="*/ 342007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6" fmla="*/ 163600 w 2098367"/>
              <a:gd name="connsiteY6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367" h="4404240">
                <a:moveTo>
                  <a:pt x="0" y="250567"/>
                </a:moveTo>
                <a:lnTo>
                  <a:pt x="0" y="0"/>
                </a:lnTo>
                <a:lnTo>
                  <a:pt x="2098367" y="0"/>
                </a:lnTo>
                <a:lnTo>
                  <a:pt x="2098367" y="4404240"/>
                </a:lnTo>
              </a:path>
            </a:pathLst>
          </a:custGeom>
          <a:noFill/>
          <a:ln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882492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176"/>
              </a:spcBef>
            </a:pPr>
            <a:endParaRPr lang="en-US" sz="2353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F8F8CB-1645-484B-A863-DEEE845D0AEF}"/>
              </a:ext>
            </a:extLst>
          </p:cNvPr>
          <p:cNvGrpSpPr/>
          <p:nvPr/>
        </p:nvGrpSpPr>
        <p:grpSpPr>
          <a:xfrm>
            <a:off x="6427046" y="1917241"/>
            <a:ext cx="5764955" cy="872123"/>
            <a:chOff x="6555921" y="1853589"/>
            <a:chExt cx="5880554" cy="88961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A1B808-99D8-4CED-A1D1-A16F58A9B722}"/>
                </a:ext>
              </a:extLst>
            </p:cNvPr>
            <p:cNvSpPr/>
            <p:nvPr/>
          </p:nvSpPr>
          <p:spPr bwMode="auto">
            <a:xfrm>
              <a:off x="6555921" y="1853589"/>
              <a:ext cx="5880554" cy="889611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5D4003D-246F-47B9-AE0C-6663EC9D9D35}"/>
                </a:ext>
              </a:extLst>
            </p:cNvPr>
            <p:cNvSpPr/>
            <p:nvPr/>
          </p:nvSpPr>
          <p:spPr>
            <a:xfrm>
              <a:off x="7208248" y="1990618"/>
              <a:ext cx="4575901" cy="61555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961" kern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indows 10 </a:t>
              </a:r>
              <a:br>
                <a:rPr lang="en-US" sz="1961" kern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961" kern="0">
                  <a:ln w="3175">
                    <a:noFill/>
                  </a:ln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terprise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393E30A-2DC9-4B20-BC51-435153B6FE07}"/>
              </a:ext>
            </a:extLst>
          </p:cNvPr>
          <p:cNvSpPr/>
          <p:nvPr/>
        </p:nvSpPr>
        <p:spPr bwMode="auto">
          <a:xfrm>
            <a:off x="1" y="3008135"/>
            <a:ext cx="5321001" cy="582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56">
              <a:spcBef>
                <a:spcPts val="800"/>
              </a:spcBef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Scalable multi – session </a:t>
            </a:r>
            <a: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legacy</a:t>
            </a:r>
            <a:b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</a:b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Windows environ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8B04B6E-F921-45BD-A2F9-DE190A027738}"/>
              </a:ext>
            </a:extLst>
          </p:cNvPr>
          <p:cNvSpPr/>
          <p:nvPr/>
        </p:nvSpPr>
        <p:spPr bwMode="auto">
          <a:xfrm>
            <a:off x="6452357" y="3008135"/>
            <a:ext cx="5321001" cy="582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56">
              <a:spcBef>
                <a:spcPts val="800"/>
              </a:spcBef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Native single – session </a:t>
            </a:r>
            <a: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modern</a:t>
            </a:r>
            <a:b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</a:b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Windows experie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7589F8-93EC-4FD5-B997-640AB9DDA22A}"/>
              </a:ext>
            </a:extLst>
          </p:cNvPr>
          <p:cNvSpPr/>
          <p:nvPr/>
        </p:nvSpPr>
        <p:spPr>
          <a:xfrm>
            <a:off x="217104" y="3820836"/>
            <a:ext cx="4886796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dows Server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Multiple sessions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32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Office Perpetual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Long-Term Servicing Chann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7BE7D1A-CB9C-4FC6-B0D7-59F094997E65}"/>
              </a:ext>
            </a:extLst>
          </p:cNvPr>
          <p:cNvSpPr/>
          <p:nvPr/>
        </p:nvSpPr>
        <p:spPr>
          <a:xfrm>
            <a:off x="6669460" y="3820836"/>
            <a:ext cx="4886796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dows 10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ingle session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32, UWP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Office 365 </a:t>
            </a:r>
            <a:r>
              <a:rPr lang="en-US" sz="1800" spc="-50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ProPlus</a:t>
            </a:r>
            <a:endParaRPr lang="en-US" sz="1800" spc="-50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emi-Annual Channel</a:t>
            </a:r>
            <a:endParaRPr lang="en-US" sz="1600" spc="-50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163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C89F2-F952-4739-9207-2D94A4905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2558CD-E6F2-42F0-AB22-12DBC835E9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irtualization Hosts der </a:t>
            </a:r>
            <a:r>
              <a:rPr lang="en-US" dirty="0" err="1"/>
              <a:t>Zukunft</a:t>
            </a:r>
            <a:endParaRPr lang="de-AT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A79AC50-EBDB-47B6-8F8B-BF84E1404A08}"/>
              </a:ext>
            </a:extLst>
          </p:cNvPr>
          <p:cNvSpPr/>
          <p:nvPr/>
        </p:nvSpPr>
        <p:spPr bwMode="auto">
          <a:xfrm>
            <a:off x="4463797" y="1634248"/>
            <a:ext cx="3291946" cy="4859982"/>
          </a:xfrm>
          <a:custGeom>
            <a:avLst/>
            <a:gdLst>
              <a:gd name="connsiteX0" fmla="*/ 0 w 2098367"/>
              <a:gd name="connsiteY0" fmla="*/ 0 h 4404240"/>
              <a:gd name="connsiteX1" fmla="*/ 2098367 w 2098367"/>
              <a:gd name="connsiteY1" fmla="*/ 0 h 4404240"/>
              <a:gd name="connsiteX2" fmla="*/ 2098367 w 2098367"/>
              <a:gd name="connsiteY2" fmla="*/ 4404240 h 4404240"/>
              <a:gd name="connsiteX3" fmla="*/ 0 w 2098367"/>
              <a:gd name="connsiteY3" fmla="*/ 4404240 h 4404240"/>
              <a:gd name="connsiteX4" fmla="*/ 0 w 2098367"/>
              <a:gd name="connsiteY4" fmla="*/ 1576447 h 4404240"/>
              <a:gd name="connsiteX5" fmla="*/ 163600 w 2098367"/>
              <a:gd name="connsiteY5" fmla="*/ 1576447 h 4404240"/>
              <a:gd name="connsiteX6" fmla="*/ 163600 w 2098367"/>
              <a:gd name="connsiteY6" fmla="*/ 250567 h 4404240"/>
              <a:gd name="connsiteX7" fmla="*/ 0 w 2098367"/>
              <a:gd name="connsiteY7" fmla="*/ 250567 h 4404240"/>
              <a:gd name="connsiteX8" fmla="*/ 0 w 2098367"/>
              <a:gd name="connsiteY8" fmla="*/ 0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8" fmla="*/ 255040 w 2098367"/>
              <a:gd name="connsiteY8" fmla="*/ 342007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6" fmla="*/ 163600 w 2098367"/>
              <a:gd name="connsiteY6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367" h="4404240">
                <a:moveTo>
                  <a:pt x="0" y="250567"/>
                </a:moveTo>
                <a:lnTo>
                  <a:pt x="0" y="0"/>
                </a:lnTo>
                <a:lnTo>
                  <a:pt x="2098367" y="0"/>
                </a:lnTo>
                <a:lnTo>
                  <a:pt x="2098367" y="4404240"/>
                </a:lnTo>
              </a:path>
            </a:pathLst>
          </a:custGeom>
          <a:noFill/>
          <a:ln>
            <a:solidFill>
              <a:schemeClr val="accent2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882492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176"/>
              </a:spcBef>
            </a:pPr>
            <a:endParaRPr lang="en-US" sz="2353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2136DA-262C-471C-8F48-9A61E1D4D74A}"/>
              </a:ext>
            </a:extLst>
          </p:cNvPr>
          <p:cNvSpPr/>
          <p:nvPr/>
        </p:nvSpPr>
        <p:spPr bwMode="auto">
          <a:xfrm>
            <a:off x="4154246" y="1917241"/>
            <a:ext cx="3883511" cy="872123"/>
          </a:xfrm>
          <a:prstGeom prst="rect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DC10D5-BEB7-4A4E-8D93-7AA8A4917C67}"/>
              </a:ext>
            </a:extLst>
          </p:cNvPr>
          <p:cNvSpPr/>
          <p:nvPr/>
        </p:nvSpPr>
        <p:spPr>
          <a:xfrm>
            <a:off x="4585042" y="2051576"/>
            <a:ext cx="3021919" cy="6034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961">
                <a:solidFill>
                  <a:srgbClr val="FFFFFF"/>
                </a:solidFill>
                <a:latin typeface="Segoe Pro Semibold" panose="020B0702040504020203" pitchFamily="34" charset="0"/>
                <a:cs typeface="Segoe UI Light"/>
              </a:rPr>
              <a:t>Windows 10 Enterprise multi-session</a:t>
            </a:r>
            <a:endParaRPr lang="en-US" sz="1961" kern="0">
              <a:ln w="3175">
                <a:noFill/>
              </a:ln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7C1C8BE-BB40-4114-BC89-56CFC7939E76}"/>
              </a:ext>
            </a:extLst>
          </p:cNvPr>
          <p:cNvSpPr/>
          <p:nvPr/>
        </p:nvSpPr>
        <p:spPr bwMode="auto">
          <a:xfrm>
            <a:off x="4171299" y="3008135"/>
            <a:ext cx="3584445" cy="10138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56">
              <a:spcBef>
                <a:spcPts val="800"/>
              </a:spcBef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Scalable multi-session </a:t>
            </a:r>
            <a: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modern</a:t>
            </a: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latin typeface="+mj-lt"/>
                <a:cs typeface="Segoe UI" pitchFamily="34" charset="0"/>
              </a:rPr>
              <a:t> </a:t>
            </a: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Windows user experience with Windows 10 Enterprise security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B40FC6-20B4-4275-9C4D-2E8B987BE82E}"/>
              </a:ext>
            </a:extLst>
          </p:cNvPr>
          <p:cNvSpPr/>
          <p:nvPr/>
        </p:nvSpPr>
        <p:spPr>
          <a:xfrm>
            <a:off x="4317547" y="4206797"/>
            <a:ext cx="3291946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dows 10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Multiple sessions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32, UWP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Office 365 </a:t>
            </a:r>
            <a:r>
              <a:rPr lang="en-US" sz="1800" spc="-50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ProPlus</a:t>
            </a:r>
            <a:endParaRPr lang="en-US" sz="1800" spc="-50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emi-Annual Channel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A3B13B-0A69-4949-8CD2-8FF7F8B8452C}"/>
              </a:ext>
            </a:extLst>
          </p:cNvPr>
          <p:cNvGrpSpPr/>
          <p:nvPr/>
        </p:nvGrpSpPr>
        <p:grpSpPr>
          <a:xfrm>
            <a:off x="4022062" y="1755226"/>
            <a:ext cx="574783" cy="574783"/>
            <a:chOff x="5697497" y="1025843"/>
            <a:chExt cx="835378" cy="83537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94BC1645-36A4-4420-A622-A95BE9329B8E}"/>
                </a:ext>
              </a:extLst>
            </p:cNvPr>
            <p:cNvSpPr/>
            <p:nvPr/>
          </p:nvSpPr>
          <p:spPr bwMode="auto">
            <a:xfrm>
              <a:off x="5697497" y="1025843"/>
              <a:ext cx="835378" cy="835378"/>
            </a:xfrm>
            <a:prstGeom prst="ellipse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254000" dist="50800" dir="2700000" sx="101000" sy="101000" algn="tl" rotWithShape="0">
                <a:prstClr val="black">
                  <a:alpha val="35000"/>
                </a:prstClr>
              </a:outerShdw>
            </a:effectLst>
          </p:spPr>
          <p:txBody>
            <a:bodyPr rot="0" spcFirstLastPara="0" vertOverflow="overflow" horzOverflow="overflow" vert="horz" wrap="square" lIns="548484" tIns="137121" rIns="0" bIns="4661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19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>
                <a:solidFill>
                  <a:srgbClr val="505050"/>
                </a:solidFill>
                <a:latin typeface="Segoe Pro Semibold" panose="020B0702040504020203" pitchFamily="34" charset="0"/>
                <a:cs typeface="Segoe UI Light"/>
              </a:endParaRPr>
            </a:p>
          </p:txBody>
        </p:sp>
        <p:sp>
          <p:nvSpPr>
            <p:cNvPr id="43" name="Ribbon2_F19B" title="Icon of a star shaped ribbon">
              <a:extLst>
                <a:ext uri="{FF2B5EF4-FFF2-40B4-BE49-F238E27FC236}">
                  <a16:creationId xmlns:a16="http://schemas.microsoft.com/office/drawing/2014/main" id="{DA6A156C-3CF7-4871-9F9A-ADB78FAD284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935103" y="1191316"/>
              <a:ext cx="360166" cy="504432"/>
            </a:xfrm>
            <a:custGeom>
              <a:avLst/>
              <a:gdLst>
                <a:gd name="T0" fmla="*/ 1621 w 2495"/>
                <a:gd name="T1" fmla="*/ 1247 h 3493"/>
                <a:gd name="T2" fmla="*/ 1247 w 2495"/>
                <a:gd name="T3" fmla="*/ 1621 h 3493"/>
                <a:gd name="T4" fmla="*/ 873 w 2495"/>
                <a:gd name="T5" fmla="*/ 1247 h 3493"/>
                <a:gd name="T6" fmla="*/ 1247 w 2495"/>
                <a:gd name="T7" fmla="*/ 873 h 3493"/>
                <a:gd name="T8" fmla="*/ 1621 w 2495"/>
                <a:gd name="T9" fmla="*/ 1247 h 3493"/>
                <a:gd name="T10" fmla="*/ 2495 w 2495"/>
                <a:gd name="T11" fmla="*/ 1247 h 3493"/>
                <a:gd name="T12" fmla="*/ 2120 w 2495"/>
                <a:gd name="T13" fmla="*/ 873 h 3493"/>
                <a:gd name="T14" fmla="*/ 2120 w 2495"/>
                <a:gd name="T15" fmla="*/ 374 h 3493"/>
                <a:gd name="T16" fmla="*/ 1621 w 2495"/>
                <a:gd name="T17" fmla="*/ 374 h 3493"/>
                <a:gd name="T18" fmla="*/ 1247 w 2495"/>
                <a:gd name="T19" fmla="*/ 0 h 3493"/>
                <a:gd name="T20" fmla="*/ 873 w 2495"/>
                <a:gd name="T21" fmla="*/ 374 h 3493"/>
                <a:gd name="T22" fmla="*/ 374 w 2495"/>
                <a:gd name="T23" fmla="*/ 374 h 3493"/>
                <a:gd name="T24" fmla="*/ 374 w 2495"/>
                <a:gd name="T25" fmla="*/ 873 h 3493"/>
                <a:gd name="T26" fmla="*/ 0 w 2495"/>
                <a:gd name="T27" fmla="*/ 1247 h 3493"/>
                <a:gd name="T28" fmla="*/ 374 w 2495"/>
                <a:gd name="T29" fmla="*/ 1621 h 3493"/>
                <a:gd name="T30" fmla="*/ 374 w 2495"/>
                <a:gd name="T31" fmla="*/ 2120 h 3493"/>
                <a:gd name="T32" fmla="*/ 873 w 2495"/>
                <a:gd name="T33" fmla="*/ 2120 h 3493"/>
                <a:gd name="T34" fmla="*/ 1247 w 2495"/>
                <a:gd name="T35" fmla="*/ 2495 h 3493"/>
                <a:gd name="T36" fmla="*/ 1621 w 2495"/>
                <a:gd name="T37" fmla="*/ 2120 h 3493"/>
                <a:gd name="T38" fmla="*/ 2120 w 2495"/>
                <a:gd name="T39" fmla="*/ 2120 h 3493"/>
                <a:gd name="T40" fmla="*/ 2120 w 2495"/>
                <a:gd name="T41" fmla="*/ 1621 h 3493"/>
                <a:gd name="T42" fmla="*/ 2495 w 2495"/>
                <a:gd name="T43" fmla="*/ 1247 h 3493"/>
                <a:gd name="T44" fmla="*/ 1247 w 2495"/>
                <a:gd name="T45" fmla="*/ 2495 h 3493"/>
                <a:gd name="T46" fmla="*/ 1497 w 2495"/>
                <a:gd name="T47" fmla="*/ 3493 h 3493"/>
                <a:gd name="T48" fmla="*/ 2245 w 2495"/>
                <a:gd name="T49" fmla="*/ 3243 h 3493"/>
                <a:gd name="T50" fmla="*/ 1964 w 2495"/>
                <a:gd name="T51" fmla="*/ 2120 h 3493"/>
                <a:gd name="T52" fmla="*/ 530 w 2495"/>
                <a:gd name="T53" fmla="*/ 2120 h 3493"/>
                <a:gd name="T54" fmla="*/ 249 w 2495"/>
                <a:gd name="T55" fmla="*/ 3243 h 3493"/>
                <a:gd name="T56" fmla="*/ 998 w 2495"/>
                <a:gd name="T57" fmla="*/ 3493 h 3493"/>
                <a:gd name="T58" fmla="*/ 1247 w 2495"/>
                <a:gd name="T59" fmla="*/ 2495 h 3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95" h="3493">
                  <a:moveTo>
                    <a:pt x="1621" y="1247"/>
                  </a:moveTo>
                  <a:cubicBezTo>
                    <a:pt x="1621" y="1454"/>
                    <a:pt x="1454" y="1621"/>
                    <a:pt x="1247" y="1621"/>
                  </a:cubicBezTo>
                  <a:cubicBezTo>
                    <a:pt x="1040" y="1621"/>
                    <a:pt x="873" y="1454"/>
                    <a:pt x="873" y="1247"/>
                  </a:cubicBezTo>
                  <a:cubicBezTo>
                    <a:pt x="873" y="1040"/>
                    <a:pt x="1040" y="873"/>
                    <a:pt x="1247" y="873"/>
                  </a:cubicBezTo>
                  <a:cubicBezTo>
                    <a:pt x="1454" y="873"/>
                    <a:pt x="1621" y="1040"/>
                    <a:pt x="1621" y="1247"/>
                  </a:cubicBezTo>
                  <a:close/>
                  <a:moveTo>
                    <a:pt x="2495" y="1247"/>
                  </a:moveTo>
                  <a:cubicBezTo>
                    <a:pt x="2120" y="873"/>
                    <a:pt x="2120" y="873"/>
                    <a:pt x="2120" y="873"/>
                  </a:cubicBezTo>
                  <a:cubicBezTo>
                    <a:pt x="2120" y="374"/>
                    <a:pt x="2120" y="374"/>
                    <a:pt x="2120" y="374"/>
                  </a:cubicBezTo>
                  <a:cubicBezTo>
                    <a:pt x="1621" y="374"/>
                    <a:pt x="1621" y="374"/>
                    <a:pt x="1621" y="374"/>
                  </a:cubicBezTo>
                  <a:cubicBezTo>
                    <a:pt x="1247" y="0"/>
                    <a:pt x="1247" y="0"/>
                    <a:pt x="1247" y="0"/>
                  </a:cubicBezTo>
                  <a:cubicBezTo>
                    <a:pt x="873" y="374"/>
                    <a:pt x="873" y="374"/>
                    <a:pt x="873" y="374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74" y="873"/>
                    <a:pt x="374" y="873"/>
                    <a:pt x="374" y="873"/>
                  </a:cubicBezTo>
                  <a:cubicBezTo>
                    <a:pt x="0" y="1247"/>
                    <a:pt x="0" y="1247"/>
                    <a:pt x="0" y="1247"/>
                  </a:cubicBezTo>
                  <a:cubicBezTo>
                    <a:pt x="374" y="1621"/>
                    <a:pt x="374" y="1621"/>
                    <a:pt x="374" y="1621"/>
                  </a:cubicBezTo>
                  <a:cubicBezTo>
                    <a:pt x="374" y="2120"/>
                    <a:pt x="374" y="2120"/>
                    <a:pt x="374" y="2120"/>
                  </a:cubicBezTo>
                  <a:cubicBezTo>
                    <a:pt x="873" y="2120"/>
                    <a:pt x="873" y="2120"/>
                    <a:pt x="873" y="2120"/>
                  </a:cubicBezTo>
                  <a:cubicBezTo>
                    <a:pt x="1247" y="2495"/>
                    <a:pt x="1247" y="2495"/>
                    <a:pt x="1247" y="2495"/>
                  </a:cubicBezTo>
                  <a:cubicBezTo>
                    <a:pt x="1621" y="2120"/>
                    <a:pt x="1621" y="2120"/>
                    <a:pt x="1621" y="2120"/>
                  </a:cubicBezTo>
                  <a:cubicBezTo>
                    <a:pt x="2120" y="2120"/>
                    <a:pt x="2120" y="2120"/>
                    <a:pt x="2120" y="2120"/>
                  </a:cubicBezTo>
                  <a:cubicBezTo>
                    <a:pt x="2120" y="1621"/>
                    <a:pt x="2120" y="1621"/>
                    <a:pt x="2120" y="1621"/>
                  </a:cubicBezTo>
                  <a:lnTo>
                    <a:pt x="2495" y="1247"/>
                  </a:lnTo>
                  <a:close/>
                  <a:moveTo>
                    <a:pt x="1247" y="2495"/>
                  </a:moveTo>
                  <a:cubicBezTo>
                    <a:pt x="1497" y="3493"/>
                    <a:pt x="1497" y="3493"/>
                    <a:pt x="1497" y="3493"/>
                  </a:cubicBezTo>
                  <a:cubicBezTo>
                    <a:pt x="2245" y="3243"/>
                    <a:pt x="2245" y="3243"/>
                    <a:pt x="2245" y="3243"/>
                  </a:cubicBezTo>
                  <a:cubicBezTo>
                    <a:pt x="1964" y="2120"/>
                    <a:pt x="1964" y="2120"/>
                    <a:pt x="1964" y="2120"/>
                  </a:cubicBezTo>
                  <a:moveTo>
                    <a:pt x="530" y="2120"/>
                  </a:moveTo>
                  <a:cubicBezTo>
                    <a:pt x="249" y="3243"/>
                    <a:pt x="249" y="3243"/>
                    <a:pt x="249" y="3243"/>
                  </a:cubicBezTo>
                  <a:cubicBezTo>
                    <a:pt x="998" y="3493"/>
                    <a:pt x="998" y="3493"/>
                    <a:pt x="998" y="3493"/>
                  </a:cubicBezTo>
                  <a:cubicBezTo>
                    <a:pt x="1247" y="2495"/>
                    <a:pt x="1247" y="2495"/>
                    <a:pt x="1247" y="2495"/>
                  </a:cubicBezTo>
                </a:path>
              </a:pathLst>
            </a:custGeom>
            <a:noFill/>
            <a:ln w="15875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593" tIns="44798" rIns="89593" bIns="44798" numCol="1" anchor="t" anchorCtr="0" compatLnSpc="1">
              <a:prstTxWarp prst="textNoShape">
                <a:avLst/>
              </a:prstTxWarp>
            </a:bodyPr>
            <a:lstStyle/>
            <a:p>
              <a:pPr algn="ctr" defTabSz="895858" fontAlgn="base">
                <a:defRPr/>
              </a:pPr>
              <a:endParaRPr lang="en-US" sz="1666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3CB547D5-BC05-4A85-91E6-A0E75F9E8BF5}"/>
              </a:ext>
            </a:extLst>
          </p:cNvPr>
          <p:cNvSpPr/>
          <p:nvPr/>
        </p:nvSpPr>
        <p:spPr bwMode="auto">
          <a:xfrm>
            <a:off x="292501" y="1634248"/>
            <a:ext cx="3291946" cy="4859982"/>
          </a:xfrm>
          <a:custGeom>
            <a:avLst/>
            <a:gdLst>
              <a:gd name="connsiteX0" fmla="*/ 0 w 2098367"/>
              <a:gd name="connsiteY0" fmla="*/ 0 h 4404240"/>
              <a:gd name="connsiteX1" fmla="*/ 2098367 w 2098367"/>
              <a:gd name="connsiteY1" fmla="*/ 0 h 4404240"/>
              <a:gd name="connsiteX2" fmla="*/ 2098367 w 2098367"/>
              <a:gd name="connsiteY2" fmla="*/ 4404240 h 4404240"/>
              <a:gd name="connsiteX3" fmla="*/ 0 w 2098367"/>
              <a:gd name="connsiteY3" fmla="*/ 4404240 h 4404240"/>
              <a:gd name="connsiteX4" fmla="*/ 0 w 2098367"/>
              <a:gd name="connsiteY4" fmla="*/ 1576447 h 4404240"/>
              <a:gd name="connsiteX5" fmla="*/ 163600 w 2098367"/>
              <a:gd name="connsiteY5" fmla="*/ 1576447 h 4404240"/>
              <a:gd name="connsiteX6" fmla="*/ 163600 w 2098367"/>
              <a:gd name="connsiteY6" fmla="*/ 250567 h 4404240"/>
              <a:gd name="connsiteX7" fmla="*/ 0 w 2098367"/>
              <a:gd name="connsiteY7" fmla="*/ 250567 h 4404240"/>
              <a:gd name="connsiteX8" fmla="*/ 0 w 2098367"/>
              <a:gd name="connsiteY8" fmla="*/ 0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8" fmla="*/ 255040 w 2098367"/>
              <a:gd name="connsiteY8" fmla="*/ 342007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6" fmla="*/ 163600 w 2098367"/>
              <a:gd name="connsiteY6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367" h="4404240">
                <a:moveTo>
                  <a:pt x="0" y="250567"/>
                </a:moveTo>
                <a:lnTo>
                  <a:pt x="0" y="0"/>
                </a:lnTo>
                <a:lnTo>
                  <a:pt x="2098367" y="0"/>
                </a:lnTo>
                <a:lnTo>
                  <a:pt x="2098367" y="440424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882492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176"/>
              </a:spcBef>
            </a:pPr>
            <a:endParaRPr lang="en-US" sz="2353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2DAC269-A277-4FBE-9AFB-E951E84EF422}"/>
              </a:ext>
            </a:extLst>
          </p:cNvPr>
          <p:cNvSpPr/>
          <p:nvPr/>
        </p:nvSpPr>
        <p:spPr bwMode="auto">
          <a:xfrm>
            <a:off x="3" y="1917241"/>
            <a:ext cx="3883511" cy="87212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2288B4B-A630-45B6-8487-126801809EEE}"/>
              </a:ext>
            </a:extLst>
          </p:cNvPr>
          <p:cNvSpPr/>
          <p:nvPr/>
        </p:nvSpPr>
        <p:spPr>
          <a:xfrm>
            <a:off x="401294" y="2051576"/>
            <a:ext cx="3021919" cy="6034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indows Server</a:t>
            </a:r>
            <a:b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D Session Host</a:t>
            </a:r>
            <a:endParaRPr lang="en-US" sz="1961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B8E6978-EF06-4CA7-946D-EA3736F25F9B}"/>
              </a:ext>
            </a:extLst>
          </p:cNvPr>
          <p:cNvSpPr/>
          <p:nvPr/>
        </p:nvSpPr>
        <p:spPr bwMode="auto">
          <a:xfrm>
            <a:off x="3" y="3008135"/>
            <a:ext cx="3584445" cy="10138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56">
              <a:spcBef>
                <a:spcPts val="800"/>
              </a:spcBef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Scalable </a:t>
            </a:r>
            <a:r>
              <a:rPr lang="en-US" sz="1800" dirty="0">
                <a:solidFill>
                  <a:schemeClr val="bg2">
                    <a:lumMod val="10000"/>
                  </a:schemeClr>
                </a:solidFill>
              </a:rPr>
              <a:t>multi-session</a:t>
            </a: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 </a:t>
            </a:r>
            <a: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legacy</a:t>
            </a:r>
            <a:b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</a:b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Windows environmen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CCC4423-6CE1-445C-9B66-F25F08800142}"/>
              </a:ext>
            </a:extLst>
          </p:cNvPr>
          <p:cNvSpPr/>
          <p:nvPr/>
        </p:nvSpPr>
        <p:spPr>
          <a:xfrm>
            <a:off x="146252" y="4147596"/>
            <a:ext cx="3291947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dows Server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Multiple sessions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32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Office 2019 Perpetual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Long-Term Servicing Channel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E7EAD25F-E329-4D4F-AF7F-60C9290E9A7D}"/>
              </a:ext>
            </a:extLst>
          </p:cNvPr>
          <p:cNvSpPr/>
          <p:nvPr/>
        </p:nvSpPr>
        <p:spPr bwMode="auto">
          <a:xfrm>
            <a:off x="8618040" y="1634248"/>
            <a:ext cx="3291946" cy="4859982"/>
          </a:xfrm>
          <a:custGeom>
            <a:avLst/>
            <a:gdLst>
              <a:gd name="connsiteX0" fmla="*/ 0 w 2098367"/>
              <a:gd name="connsiteY0" fmla="*/ 0 h 4404240"/>
              <a:gd name="connsiteX1" fmla="*/ 2098367 w 2098367"/>
              <a:gd name="connsiteY1" fmla="*/ 0 h 4404240"/>
              <a:gd name="connsiteX2" fmla="*/ 2098367 w 2098367"/>
              <a:gd name="connsiteY2" fmla="*/ 4404240 h 4404240"/>
              <a:gd name="connsiteX3" fmla="*/ 0 w 2098367"/>
              <a:gd name="connsiteY3" fmla="*/ 4404240 h 4404240"/>
              <a:gd name="connsiteX4" fmla="*/ 0 w 2098367"/>
              <a:gd name="connsiteY4" fmla="*/ 1576447 h 4404240"/>
              <a:gd name="connsiteX5" fmla="*/ 163600 w 2098367"/>
              <a:gd name="connsiteY5" fmla="*/ 1576447 h 4404240"/>
              <a:gd name="connsiteX6" fmla="*/ 163600 w 2098367"/>
              <a:gd name="connsiteY6" fmla="*/ 250567 h 4404240"/>
              <a:gd name="connsiteX7" fmla="*/ 0 w 2098367"/>
              <a:gd name="connsiteY7" fmla="*/ 250567 h 4404240"/>
              <a:gd name="connsiteX8" fmla="*/ 0 w 2098367"/>
              <a:gd name="connsiteY8" fmla="*/ 0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8" fmla="*/ 255040 w 2098367"/>
              <a:gd name="connsiteY8" fmla="*/ 342007 h 4404240"/>
              <a:gd name="connsiteX0" fmla="*/ 163600 w 2098367"/>
              <a:gd name="connsiteY0" fmla="*/ 250567 h 4404240"/>
              <a:gd name="connsiteX1" fmla="*/ 0 w 2098367"/>
              <a:gd name="connsiteY1" fmla="*/ 250567 h 4404240"/>
              <a:gd name="connsiteX2" fmla="*/ 0 w 2098367"/>
              <a:gd name="connsiteY2" fmla="*/ 0 h 4404240"/>
              <a:gd name="connsiteX3" fmla="*/ 2098367 w 2098367"/>
              <a:gd name="connsiteY3" fmla="*/ 0 h 4404240"/>
              <a:gd name="connsiteX4" fmla="*/ 2098367 w 2098367"/>
              <a:gd name="connsiteY4" fmla="*/ 4404240 h 4404240"/>
              <a:gd name="connsiteX5" fmla="*/ 0 w 2098367"/>
              <a:gd name="connsiteY5" fmla="*/ 4404240 h 4404240"/>
              <a:gd name="connsiteX6" fmla="*/ 0 w 2098367"/>
              <a:gd name="connsiteY6" fmla="*/ 1576447 h 4404240"/>
              <a:gd name="connsiteX7" fmla="*/ 163600 w 2098367"/>
              <a:gd name="connsiteY7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6" fmla="*/ 163600 w 2098367"/>
              <a:gd name="connsiteY6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5" fmla="*/ 0 w 2098367"/>
              <a:gd name="connsiteY5" fmla="*/ 1576447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  <a:gd name="connsiteX4" fmla="*/ 0 w 2098367"/>
              <a:gd name="connsiteY4" fmla="*/ 4404240 h 4404240"/>
              <a:gd name="connsiteX0" fmla="*/ 0 w 2098367"/>
              <a:gd name="connsiteY0" fmla="*/ 250567 h 4404240"/>
              <a:gd name="connsiteX1" fmla="*/ 0 w 2098367"/>
              <a:gd name="connsiteY1" fmla="*/ 0 h 4404240"/>
              <a:gd name="connsiteX2" fmla="*/ 2098367 w 2098367"/>
              <a:gd name="connsiteY2" fmla="*/ 0 h 4404240"/>
              <a:gd name="connsiteX3" fmla="*/ 2098367 w 2098367"/>
              <a:gd name="connsiteY3" fmla="*/ 4404240 h 4404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367" h="4404240">
                <a:moveTo>
                  <a:pt x="0" y="250567"/>
                </a:moveTo>
                <a:lnTo>
                  <a:pt x="0" y="0"/>
                </a:lnTo>
                <a:lnTo>
                  <a:pt x="2098367" y="0"/>
                </a:lnTo>
                <a:lnTo>
                  <a:pt x="2098367" y="4404240"/>
                </a:lnTo>
              </a:path>
            </a:pathLst>
          </a:custGeom>
          <a:noFill/>
          <a:ln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882492" rIns="89642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176"/>
              </a:spcBef>
            </a:pPr>
            <a:endParaRPr lang="en-US" sz="2353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A8A6438-AE97-4C32-BBAD-07E78427E274}"/>
              </a:ext>
            </a:extLst>
          </p:cNvPr>
          <p:cNvSpPr/>
          <p:nvPr/>
        </p:nvSpPr>
        <p:spPr bwMode="auto">
          <a:xfrm>
            <a:off x="8308490" y="1917241"/>
            <a:ext cx="3883511" cy="87212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1F984EF-14ED-4BDE-A46B-5A3BE6C9D65B}"/>
              </a:ext>
            </a:extLst>
          </p:cNvPr>
          <p:cNvSpPr/>
          <p:nvPr/>
        </p:nvSpPr>
        <p:spPr>
          <a:xfrm>
            <a:off x="8739286" y="2051576"/>
            <a:ext cx="3021919" cy="6034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indows 10 </a:t>
            </a:r>
            <a:b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961" kern="0">
                <a:ln w="3175">
                  <a:noFill/>
                </a:ln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terpris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E877014-C161-44AF-B3AF-8453FB23F35C}"/>
              </a:ext>
            </a:extLst>
          </p:cNvPr>
          <p:cNvSpPr/>
          <p:nvPr/>
        </p:nvSpPr>
        <p:spPr bwMode="auto">
          <a:xfrm>
            <a:off x="8325542" y="3008135"/>
            <a:ext cx="3584445" cy="10138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0756">
              <a:spcBef>
                <a:spcPts val="800"/>
              </a:spcBef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Native single-session </a:t>
            </a:r>
            <a: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modern</a:t>
            </a:r>
            <a:br>
              <a:rPr lang="en-US" sz="1800" b="1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</a:br>
            <a:r>
              <a:rPr lang="en-US" sz="1800" spc="-50" dirty="0">
                <a:ln w="3175">
                  <a:noFill/>
                </a:ln>
                <a:solidFill>
                  <a:schemeClr val="bg2">
                    <a:lumMod val="10000"/>
                  </a:schemeClr>
                </a:solidFill>
                <a:cs typeface="Segoe UI" pitchFamily="34" charset="0"/>
              </a:rPr>
              <a:t>Windows experienc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793CB8E-323B-4282-86B3-6AA99F3FA9FB}"/>
              </a:ext>
            </a:extLst>
          </p:cNvPr>
          <p:cNvSpPr/>
          <p:nvPr/>
        </p:nvSpPr>
        <p:spPr>
          <a:xfrm>
            <a:off x="8471791" y="4147596"/>
            <a:ext cx="3291947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dows 10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ingle session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Win32, UWP</a:t>
            </a: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Office 365 </a:t>
            </a:r>
            <a:r>
              <a:rPr lang="en-US" sz="1800" spc="-50" dirty="0" err="1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ProPlus</a:t>
            </a:r>
            <a:endParaRPr lang="en-US" sz="1800" spc="-50" dirty="0">
              <a:ln w="3175">
                <a:noFill/>
              </a:ln>
              <a:solidFill>
                <a:schemeClr val="bg1"/>
              </a:solidFill>
              <a:cs typeface="Segoe UI" pitchFamily="34" charset="0"/>
            </a:endParaRPr>
          </a:p>
          <a:p>
            <a:pPr algn="ctr" defTabSz="860756">
              <a:spcBef>
                <a:spcPts val="800"/>
              </a:spcBef>
              <a:spcAft>
                <a:spcPts val="600"/>
              </a:spcAft>
              <a:defRPr/>
            </a:pPr>
            <a:r>
              <a:rPr lang="en-US" sz="1800" spc="-50" dirty="0">
                <a:ln w="3175">
                  <a:noFill/>
                </a:ln>
                <a:solidFill>
                  <a:schemeClr val="bg1"/>
                </a:solidFill>
                <a:cs typeface="Segoe UI" pitchFamily="34" charset="0"/>
              </a:rPr>
              <a:t>Semi-Annual Channel</a:t>
            </a:r>
          </a:p>
        </p:txBody>
      </p:sp>
    </p:spTree>
    <p:extLst>
      <p:ext uri="{BB962C8B-B14F-4D97-AF65-F5344CB8AC3E}">
        <p14:creationId xmlns:p14="http://schemas.microsoft.com/office/powerpoint/2010/main" val="3938534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28E88B-1C81-4DCA-9290-6D862AF61B69}"/>
              </a:ext>
            </a:extLst>
          </p:cNvPr>
          <p:cNvSpPr/>
          <p:nvPr/>
        </p:nvSpPr>
        <p:spPr bwMode="auto">
          <a:xfrm>
            <a:off x="6212722" y="-27970"/>
            <a:ext cx="5979278" cy="6856055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1D62A6-2AF4-4DC6-BB3F-9D9645852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2B5C38-2750-42E8-9E3D-474C270EEE5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10878" y="1451221"/>
            <a:ext cx="11378959" cy="660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defRPr sz="32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1pPr>
            <a:lvl2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tabLst>
                <a:tab pos="472868" algn="l"/>
              </a:tabLst>
              <a:defRPr sz="24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2pPr>
            <a:lvl3pPr mar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  <a:defRPr sz="1800" kern="1200">
                <a:solidFill>
                  <a:schemeClr val="accent2"/>
                </a:solidFill>
                <a:latin typeface="Segoe UI Light"/>
                <a:ea typeface="+mn-ea"/>
                <a:cs typeface="Segoe UI Light"/>
              </a:defRPr>
            </a:lvl3pPr>
            <a:lvl4pPr marL="1112489" indent="-167946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tabLst>
                <a:tab pos="686074" algn="l"/>
              </a:tabLst>
              <a:defRPr sz="1800" kern="1200">
                <a:solidFill>
                  <a:schemeClr val="tx1"/>
                </a:solidFill>
                <a:latin typeface="Segoe UI Light"/>
                <a:ea typeface="+mn-ea"/>
                <a:cs typeface="Segoe UI Light"/>
              </a:defRPr>
            </a:lvl4pPr>
            <a:lvl5pPr marL="1285199" indent="-17271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Segoe UI Light"/>
                <a:ea typeface="+mn-ea"/>
                <a:cs typeface="Segoe UI Light"/>
              </a:defRPr>
            </a:lvl5pPr>
            <a:lvl6pPr marL="1886629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652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676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700" indent="-171512" algn="l" defTabSz="6860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C00000"/>
                </a:solidFill>
              </a:rPr>
              <a:t>Architektur Übersicht</a:t>
            </a:r>
            <a:br>
              <a:rPr lang="de-DE" dirty="0">
                <a:solidFill>
                  <a:srgbClr val="C00000"/>
                </a:solidFill>
              </a:rPr>
            </a:br>
            <a:endParaRPr lang="de-DE" sz="1568" dirty="0">
              <a:solidFill>
                <a:srgbClr val="C00000"/>
              </a:solidFill>
              <a:latin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B0F49E-1982-483B-BE21-CB399F335733}"/>
              </a:ext>
            </a:extLst>
          </p:cNvPr>
          <p:cNvGrpSpPr/>
          <p:nvPr/>
        </p:nvGrpSpPr>
        <p:grpSpPr>
          <a:xfrm>
            <a:off x="14032657" y="4442838"/>
            <a:ext cx="306162" cy="312151"/>
            <a:chOff x="11570350" y="1875766"/>
            <a:chExt cx="306205" cy="312195"/>
          </a:xfrm>
        </p:grpSpPr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1CF06FEA-BD1A-4F9D-8D76-437737D74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0350" y="1875766"/>
              <a:ext cx="306205" cy="312195"/>
            </a:xfrm>
            <a:custGeom>
              <a:avLst/>
              <a:gdLst>
                <a:gd name="T0" fmla="*/ 300 w 601"/>
                <a:gd name="T1" fmla="*/ 0 h 612"/>
                <a:gd name="T2" fmla="*/ 304 w 601"/>
                <a:gd name="T3" fmla="*/ 4 h 612"/>
                <a:gd name="T4" fmla="*/ 357 w 601"/>
                <a:gd name="T5" fmla="*/ 69 h 612"/>
                <a:gd name="T6" fmla="*/ 496 w 601"/>
                <a:gd name="T7" fmla="*/ 236 h 612"/>
                <a:gd name="T8" fmla="*/ 592 w 601"/>
                <a:gd name="T9" fmla="*/ 353 h 612"/>
                <a:gd name="T10" fmla="*/ 590 w 601"/>
                <a:gd name="T11" fmla="*/ 373 h 612"/>
                <a:gd name="T12" fmla="*/ 410 w 601"/>
                <a:gd name="T13" fmla="*/ 521 h 612"/>
                <a:gd name="T14" fmla="*/ 366 w 601"/>
                <a:gd name="T15" fmla="*/ 557 h 612"/>
                <a:gd name="T16" fmla="*/ 310 w 601"/>
                <a:gd name="T17" fmla="*/ 605 h 612"/>
                <a:gd name="T18" fmla="*/ 292 w 601"/>
                <a:gd name="T19" fmla="*/ 606 h 612"/>
                <a:gd name="T20" fmla="*/ 57 w 601"/>
                <a:gd name="T21" fmla="*/ 411 h 612"/>
                <a:gd name="T22" fmla="*/ 6 w 601"/>
                <a:gd name="T23" fmla="*/ 368 h 612"/>
                <a:gd name="T24" fmla="*/ 5 w 601"/>
                <a:gd name="T25" fmla="*/ 356 h 612"/>
                <a:gd name="T26" fmla="*/ 92 w 601"/>
                <a:gd name="T27" fmla="*/ 252 h 612"/>
                <a:gd name="T28" fmla="*/ 232 w 601"/>
                <a:gd name="T29" fmla="*/ 84 h 612"/>
                <a:gd name="T30" fmla="*/ 291 w 601"/>
                <a:gd name="T31" fmla="*/ 12 h 612"/>
                <a:gd name="T32" fmla="*/ 296 w 601"/>
                <a:gd name="T33" fmla="*/ 3 h 612"/>
                <a:gd name="T34" fmla="*/ 300 w 601"/>
                <a:gd name="T35" fmla="*/ 0 h 612"/>
                <a:gd name="T36" fmla="*/ 301 w 601"/>
                <a:gd name="T37" fmla="*/ 131 h 612"/>
                <a:gd name="T38" fmla="*/ 255 w 601"/>
                <a:gd name="T39" fmla="*/ 204 h 612"/>
                <a:gd name="T40" fmla="*/ 251 w 601"/>
                <a:gd name="T41" fmla="*/ 223 h 612"/>
                <a:gd name="T42" fmla="*/ 172 w 601"/>
                <a:gd name="T43" fmla="*/ 299 h 612"/>
                <a:gd name="T44" fmla="*/ 147 w 601"/>
                <a:gd name="T45" fmla="*/ 305 h 612"/>
                <a:gd name="T46" fmla="*/ 91 w 601"/>
                <a:gd name="T47" fmla="*/ 359 h 612"/>
                <a:gd name="T48" fmla="*/ 162 w 601"/>
                <a:gd name="T49" fmla="*/ 391 h 612"/>
                <a:gd name="T50" fmla="*/ 181 w 601"/>
                <a:gd name="T51" fmla="*/ 391 h 612"/>
                <a:gd name="T52" fmla="*/ 253 w 601"/>
                <a:gd name="T53" fmla="*/ 432 h 612"/>
                <a:gd name="T54" fmla="*/ 259 w 601"/>
                <a:gd name="T55" fmla="*/ 451 h 612"/>
                <a:gd name="T56" fmla="*/ 266 w 601"/>
                <a:gd name="T57" fmla="*/ 502 h 612"/>
                <a:gd name="T58" fmla="*/ 317 w 601"/>
                <a:gd name="T59" fmla="*/ 516 h 612"/>
                <a:gd name="T60" fmla="*/ 345 w 601"/>
                <a:gd name="T61" fmla="*/ 452 h 612"/>
                <a:gd name="T62" fmla="*/ 347 w 601"/>
                <a:gd name="T63" fmla="*/ 439 h 612"/>
                <a:gd name="T64" fmla="*/ 413 w 601"/>
                <a:gd name="T65" fmla="*/ 391 h 612"/>
                <a:gd name="T66" fmla="*/ 434 w 601"/>
                <a:gd name="T67" fmla="*/ 390 h 612"/>
                <a:gd name="T68" fmla="*/ 487 w 601"/>
                <a:gd name="T69" fmla="*/ 389 h 612"/>
                <a:gd name="T70" fmla="*/ 505 w 601"/>
                <a:gd name="T71" fmla="*/ 339 h 612"/>
                <a:gd name="T72" fmla="*/ 439 w 601"/>
                <a:gd name="T73" fmla="*/ 308 h 612"/>
                <a:gd name="T74" fmla="*/ 423 w 601"/>
                <a:gd name="T75" fmla="*/ 304 h 612"/>
                <a:gd name="T76" fmla="*/ 351 w 601"/>
                <a:gd name="T77" fmla="*/ 217 h 612"/>
                <a:gd name="T78" fmla="*/ 349 w 601"/>
                <a:gd name="T79" fmla="*/ 203 h 612"/>
                <a:gd name="T80" fmla="*/ 301 w 601"/>
                <a:gd name="T81" fmla="*/ 131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1" h="612">
                  <a:moveTo>
                    <a:pt x="300" y="0"/>
                  </a:moveTo>
                  <a:cubicBezTo>
                    <a:pt x="302" y="0"/>
                    <a:pt x="303" y="2"/>
                    <a:pt x="304" y="4"/>
                  </a:cubicBezTo>
                  <a:cubicBezTo>
                    <a:pt x="322" y="25"/>
                    <a:pt x="340" y="47"/>
                    <a:pt x="357" y="69"/>
                  </a:cubicBezTo>
                  <a:cubicBezTo>
                    <a:pt x="402" y="126"/>
                    <a:pt x="451" y="179"/>
                    <a:pt x="496" y="236"/>
                  </a:cubicBezTo>
                  <a:cubicBezTo>
                    <a:pt x="527" y="276"/>
                    <a:pt x="560" y="314"/>
                    <a:pt x="592" y="353"/>
                  </a:cubicBezTo>
                  <a:cubicBezTo>
                    <a:pt x="601" y="364"/>
                    <a:pt x="601" y="364"/>
                    <a:pt x="590" y="373"/>
                  </a:cubicBezTo>
                  <a:cubicBezTo>
                    <a:pt x="531" y="423"/>
                    <a:pt x="470" y="472"/>
                    <a:pt x="410" y="521"/>
                  </a:cubicBezTo>
                  <a:cubicBezTo>
                    <a:pt x="395" y="533"/>
                    <a:pt x="380" y="545"/>
                    <a:pt x="366" y="557"/>
                  </a:cubicBezTo>
                  <a:cubicBezTo>
                    <a:pt x="348" y="574"/>
                    <a:pt x="329" y="589"/>
                    <a:pt x="310" y="605"/>
                  </a:cubicBezTo>
                  <a:cubicBezTo>
                    <a:pt x="304" y="611"/>
                    <a:pt x="299" y="612"/>
                    <a:pt x="292" y="606"/>
                  </a:cubicBezTo>
                  <a:cubicBezTo>
                    <a:pt x="215" y="539"/>
                    <a:pt x="135" y="476"/>
                    <a:pt x="57" y="411"/>
                  </a:cubicBezTo>
                  <a:cubicBezTo>
                    <a:pt x="40" y="397"/>
                    <a:pt x="23" y="382"/>
                    <a:pt x="6" y="368"/>
                  </a:cubicBezTo>
                  <a:cubicBezTo>
                    <a:pt x="1" y="364"/>
                    <a:pt x="0" y="361"/>
                    <a:pt x="5" y="356"/>
                  </a:cubicBezTo>
                  <a:cubicBezTo>
                    <a:pt x="34" y="321"/>
                    <a:pt x="64" y="287"/>
                    <a:pt x="92" y="252"/>
                  </a:cubicBezTo>
                  <a:cubicBezTo>
                    <a:pt x="138" y="195"/>
                    <a:pt x="186" y="141"/>
                    <a:pt x="232" y="84"/>
                  </a:cubicBezTo>
                  <a:cubicBezTo>
                    <a:pt x="251" y="60"/>
                    <a:pt x="271" y="36"/>
                    <a:pt x="291" y="12"/>
                  </a:cubicBezTo>
                  <a:cubicBezTo>
                    <a:pt x="293" y="10"/>
                    <a:pt x="295" y="6"/>
                    <a:pt x="296" y="3"/>
                  </a:cubicBezTo>
                  <a:cubicBezTo>
                    <a:pt x="297" y="2"/>
                    <a:pt x="297" y="0"/>
                    <a:pt x="300" y="0"/>
                  </a:cubicBezTo>
                  <a:close/>
                  <a:moveTo>
                    <a:pt x="301" y="131"/>
                  </a:moveTo>
                  <a:cubicBezTo>
                    <a:pt x="264" y="131"/>
                    <a:pt x="238" y="170"/>
                    <a:pt x="255" y="204"/>
                  </a:cubicBezTo>
                  <a:cubicBezTo>
                    <a:pt x="259" y="212"/>
                    <a:pt x="258" y="217"/>
                    <a:pt x="251" y="223"/>
                  </a:cubicBezTo>
                  <a:cubicBezTo>
                    <a:pt x="225" y="249"/>
                    <a:pt x="199" y="274"/>
                    <a:pt x="172" y="299"/>
                  </a:cubicBezTo>
                  <a:cubicBezTo>
                    <a:pt x="164" y="306"/>
                    <a:pt x="158" y="309"/>
                    <a:pt x="147" y="305"/>
                  </a:cubicBezTo>
                  <a:cubicBezTo>
                    <a:pt x="116" y="296"/>
                    <a:pt x="84" y="328"/>
                    <a:pt x="91" y="359"/>
                  </a:cubicBezTo>
                  <a:cubicBezTo>
                    <a:pt x="98" y="393"/>
                    <a:pt x="132" y="409"/>
                    <a:pt x="162" y="391"/>
                  </a:cubicBezTo>
                  <a:cubicBezTo>
                    <a:pt x="169" y="387"/>
                    <a:pt x="174" y="387"/>
                    <a:pt x="181" y="391"/>
                  </a:cubicBezTo>
                  <a:cubicBezTo>
                    <a:pt x="205" y="405"/>
                    <a:pt x="228" y="420"/>
                    <a:pt x="253" y="432"/>
                  </a:cubicBezTo>
                  <a:cubicBezTo>
                    <a:pt x="265" y="438"/>
                    <a:pt x="265" y="439"/>
                    <a:pt x="259" y="451"/>
                  </a:cubicBezTo>
                  <a:cubicBezTo>
                    <a:pt x="251" y="468"/>
                    <a:pt x="253" y="488"/>
                    <a:pt x="266" y="502"/>
                  </a:cubicBezTo>
                  <a:cubicBezTo>
                    <a:pt x="280" y="517"/>
                    <a:pt x="298" y="522"/>
                    <a:pt x="317" y="516"/>
                  </a:cubicBezTo>
                  <a:cubicBezTo>
                    <a:pt x="343" y="506"/>
                    <a:pt x="356" y="479"/>
                    <a:pt x="345" y="452"/>
                  </a:cubicBezTo>
                  <a:cubicBezTo>
                    <a:pt x="343" y="447"/>
                    <a:pt x="342" y="443"/>
                    <a:pt x="347" y="439"/>
                  </a:cubicBezTo>
                  <a:cubicBezTo>
                    <a:pt x="370" y="425"/>
                    <a:pt x="392" y="408"/>
                    <a:pt x="413" y="391"/>
                  </a:cubicBezTo>
                  <a:cubicBezTo>
                    <a:pt x="421" y="385"/>
                    <a:pt x="426" y="384"/>
                    <a:pt x="434" y="390"/>
                  </a:cubicBezTo>
                  <a:cubicBezTo>
                    <a:pt x="451" y="402"/>
                    <a:pt x="470" y="401"/>
                    <a:pt x="487" y="389"/>
                  </a:cubicBezTo>
                  <a:cubicBezTo>
                    <a:pt x="502" y="377"/>
                    <a:pt x="510" y="357"/>
                    <a:pt x="505" y="339"/>
                  </a:cubicBezTo>
                  <a:cubicBezTo>
                    <a:pt x="498" y="310"/>
                    <a:pt x="467" y="295"/>
                    <a:pt x="439" y="308"/>
                  </a:cubicBezTo>
                  <a:cubicBezTo>
                    <a:pt x="431" y="311"/>
                    <a:pt x="428" y="310"/>
                    <a:pt x="423" y="304"/>
                  </a:cubicBezTo>
                  <a:cubicBezTo>
                    <a:pt x="398" y="275"/>
                    <a:pt x="375" y="246"/>
                    <a:pt x="351" y="217"/>
                  </a:cubicBezTo>
                  <a:cubicBezTo>
                    <a:pt x="347" y="213"/>
                    <a:pt x="347" y="209"/>
                    <a:pt x="349" y="203"/>
                  </a:cubicBezTo>
                  <a:cubicBezTo>
                    <a:pt x="364" y="168"/>
                    <a:pt x="339" y="131"/>
                    <a:pt x="301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de-DE" dirty="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14" name="Freeform 7">
              <a:extLst>
                <a:ext uri="{FF2B5EF4-FFF2-40B4-BE49-F238E27FC236}">
                  <a16:creationId xmlns:a16="http://schemas.microsoft.com/office/drawing/2014/main" id="{37FB6846-3484-4EEB-BA85-187A40B5E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0939" y="1994056"/>
              <a:ext cx="56150" cy="100322"/>
            </a:xfrm>
            <a:custGeom>
              <a:avLst/>
              <a:gdLst>
                <a:gd name="T0" fmla="*/ 110 w 110"/>
                <a:gd name="T1" fmla="*/ 104 h 197"/>
                <a:gd name="T2" fmla="*/ 110 w 110"/>
                <a:gd name="T3" fmla="*/ 184 h 197"/>
                <a:gd name="T4" fmla="*/ 98 w 110"/>
                <a:gd name="T5" fmla="*/ 191 h 197"/>
                <a:gd name="T6" fmla="*/ 12 w 110"/>
                <a:gd name="T7" fmla="*/ 137 h 197"/>
                <a:gd name="T8" fmla="*/ 6 w 110"/>
                <a:gd name="T9" fmla="*/ 125 h 197"/>
                <a:gd name="T10" fmla="*/ 3 w 110"/>
                <a:gd name="T11" fmla="*/ 102 h 197"/>
                <a:gd name="T12" fmla="*/ 7 w 110"/>
                <a:gd name="T13" fmla="*/ 88 h 197"/>
                <a:gd name="T14" fmla="*/ 80 w 110"/>
                <a:gd name="T15" fmla="*/ 21 h 197"/>
                <a:gd name="T16" fmla="*/ 94 w 110"/>
                <a:gd name="T17" fmla="*/ 6 h 197"/>
                <a:gd name="T18" fmla="*/ 106 w 110"/>
                <a:gd name="T19" fmla="*/ 8 h 197"/>
                <a:gd name="T20" fmla="*/ 110 w 110"/>
                <a:gd name="T21" fmla="*/ 27 h 197"/>
                <a:gd name="T22" fmla="*/ 110 w 110"/>
                <a:gd name="T23" fmla="*/ 10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0" h="197">
                  <a:moveTo>
                    <a:pt x="110" y="104"/>
                  </a:moveTo>
                  <a:cubicBezTo>
                    <a:pt x="110" y="130"/>
                    <a:pt x="110" y="157"/>
                    <a:pt x="110" y="184"/>
                  </a:cubicBezTo>
                  <a:cubicBezTo>
                    <a:pt x="110" y="196"/>
                    <a:pt x="108" y="197"/>
                    <a:pt x="98" y="191"/>
                  </a:cubicBezTo>
                  <a:cubicBezTo>
                    <a:pt x="69" y="173"/>
                    <a:pt x="42" y="153"/>
                    <a:pt x="12" y="137"/>
                  </a:cubicBezTo>
                  <a:cubicBezTo>
                    <a:pt x="7" y="134"/>
                    <a:pt x="5" y="131"/>
                    <a:pt x="6" y="125"/>
                  </a:cubicBezTo>
                  <a:cubicBezTo>
                    <a:pt x="7" y="117"/>
                    <a:pt x="7" y="109"/>
                    <a:pt x="3" y="102"/>
                  </a:cubicBezTo>
                  <a:cubicBezTo>
                    <a:pt x="0" y="96"/>
                    <a:pt x="2" y="92"/>
                    <a:pt x="7" y="88"/>
                  </a:cubicBezTo>
                  <a:cubicBezTo>
                    <a:pt x="31" y="66"/>
                    <a:pt x="55" y="43"/>
                    <a:pt x="80" y="21"/>
                  </a:cubicBezTo>
                  <a:cubicBezTo>
                    <a:pt x="85" y="16"/>
                    <a:pt x="89" y="11"/>
                    <a:pt x="94" y="6"/>
                  </a:cubicBezTo>
                  <a:cubicBezTo>
                    <a:pt x="99" y="1"/>
                    <a:pt x="102" y="0"/>
                    <a:pt x="106" y="8"/>
                  </a:cubicBezTo>
                  <a:cubicBezTo>
                    <a:pt x="108" y="14"/>
                    <a:pt x="110" y="20"/>
                    <a:pt x="110" y="27"/>
                  </a:cubicBezTo>
                  <a:cubicBezTo>
                    <a:pt x="110" y="52"/>
                    <a:pt x="110" y="78"/>
                    <a:pt x="110" y="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de-DE" dirty="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id="{CA4D84FD-FB0F-460B-BFFA-F9D5510BB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7196" y="1993307"/>
              <a:ext cx="55027" cy="101070"/>
            </a:xfrm>
            <a:custGeom>
              <a:avLst/>
              <a:gdLst>
                <a:gd name="T0" fmla="*/ 0 w 108"/>
                <a:gd name="T1" fmla="*/ 106 h 198"/>
                <a:gd name="T2" fmla="*/ 0 w 108"/>
                <a:gd name="T3" fmla="*/ 28 h 198"/>
                <a:gd name="T4" fmla="*/ 18 w 108"/>
                <a:gd name="T5" fmla="*/ 2 h 198"/>
                <a:gd name="T6" fmla="*/ 26 w 108"/>
                <a:gd name="T7" fmla="*/ 5 h 198"/>
                <a:gd name="T8" fmla="*/ 97 w 108"/>
                <a:gd name="T9" fmla="*/ 91 h 198"/>
                <a:gd name="T10" fmla="*/ 103 w 108"/>
                <a:gd name="T11" fmla="*/ 129 h 198"/>
                <a:gd name="T12" fmla="*/ 98 w 108"/>
                <a:gd name="T13" fmla="*/ 134 h 198"/>
                <a:gd name="T14" fmla="*/ 10 w 108"/>
                <a:gd name="T15" fmla="*/ 192 h 198"/>
                <a:gd name="T16" fmla="*/ 0 w 108"/>
                <a:gd name="T17" fmla="*/ 187 h 198"/>
                <a:gd name="T18" fmla="*/ 0 w 108"/>
                <a:gd name="T19" fmla="*/ 10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98">
                  <a:moveTo>
                    <a:pt x="0" y="106"/>
                  </a:moveTo>
                  <a:cubicBezTo>
                    <a:pt x="0" y="80"/>
                    <a:pt x="0" y="54"/>
                    <a:pt x="0" y="28"/>
                  </a:cubicBezTo>
                  <a:cubicBezTo>
                    <a:pt x="0" y="18"/>
                    <a:pt x="9" y="5"/>
                    <a:pt x="18" y="2"/>
                  </a:cubicBezTo>
                  <a:cubicBezTo>
                    <a:pt x="22" y="0"/>
                    <a:pt x="24" y="2"/>
                    <a:pt x="26" y="5"/>
                  </a:cubicBezTo>
                  <a:cubicBezTo>
                    <a:pt x="48" y="35"/>
                    <a:pt x="73" y="63"/>
                    <a:pt x="97" y="91"/>
                  </a:cubicBezTo>
                  <a:cubicBezTo>
                    <a:pt x="108" y="103"/>
                    <a:pt x="103" y="116"/>
                    <a:pt x="103" y="129"/>
                  </a:cubicBezTo>
                  <a:cubicBezTo>
                    <a:pt x="103" y="131"/>
                    <a:pt x="101" y="133"/>
                    <a:pt x="98" y="134"/>
                  </a:cubicBezTo>
                  <a:cubicBezTo>
                    <a:pt x="68" y="152"/>
                    <a:pt x="40" y="173"/>
                    <a:pt x="10" y="192"/>
                  </a:cubicBezTo>
                  <a:cubicBezTo>
                    <a:pt x="1" y="198"/>
                    <a:pt x="0" y="198"/>
                    <a:pt x="0" y="187"/>
                  </a:cubicBezTo>
                  <a:cubicBezTo>
                    <a:pt x="0" y="160"/>
                    <a:pt x="0" y="133"/>
                    <a:pt x="0" y="1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de-DE" dirty="0">
                <a:solidFill>
                  <a:srgbClr val="282828"/>
                </a:solidFill>
                <a:latin typeface="Segoe UI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E70E36D-DDA3-401B-B188-24ED9F9D47B0}"/>
              </a:ext>
            </a:extLst>
          </p:cNvPr>
          <p:cNvGrpSpPr/>
          <p:nvPr/>
        </p:nvGrpSpPr>
        <p:grpSpPr>
          <a:xfrm>
            <a:off x="6971501" y="700802"/>
            <a:ext cx="4452945" cy="5972129"/>
            <a:chOff x="7111294" y="486682"/>
            <a:chExt cx="4542236" cy="6091883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1690CCBE-6E9C-4AC6-910B-04F3268ED67A}"/>
                </a:ext>
              </a:extLst>
            </p:cNvPr>
            <p:cNvGrpSpPr/>
            <p:nvPr/>
          </p:nvGrpSpPr>
          <p:grpSpPr>
            <a:xfrm>
              <a:off x="8666706" y="4294057"/>
              <a:ext cx="475258" cy="469991"/>
              <a:chOff x="7918570" y="5608091"/>
              <a:chExt cx="475326" cy="470057"/>
            </a:xfrm>
          </p:grpSpPr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2FEF520B-0846-41DE-98DE-B6775AD7A1B2}"/>
                  </a:ext>
                </a:extLst>
              </p:cNvPr>
              <p:cNvSpPr/>
              <p:nvPr/>
            </p:nvSpPr>
            <p:spPr bwMode="auto">
              <a:xfrm>
                <a:off x="7951790" y="5636041"/>
                <a:ext cx="442106" cy="442107"/>
              </a:xfrm>
              <a:prstGeom prst="rect">
                <a:avLst/>
              </a:prstGeom>
              <a:solidFill>
                <a:schemeClr val="accent5"/>
              </a:solidFill>
              <a:ln w="3175" cap="rnd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1" name="monitor" title="Icon of a monitor">
                <a:extLst>
                  <a:ext uri="{FF2B5EF4-FFF2-40B4-BE49-F238E27FC236}">
                    <a16:creationId xmlns:a16="http://schemas.microsoft.com/office/drawing/2014/main" id="{ED725434-5364-43B8-A9A7-B0EDD8A10CB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57531" y="5706932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94F23560-8184-4B9E-A315-497A644714CD}"/>
                  </a:ext>
                </a:extLst>
              </p:cNvPr>
              <p:cNvSpPr/>
              <p:nvPr/>
            </p:nvSpPr>
            <p:spPr bwMode="auto">
              <a:xfrm>
                <a:off x="7918570" y="5608091"/>
                <a:ext cx="442106" cy="442107"/>
              </a:xfrm>
              <a:prstGeom prst="rect">
                <a:avLst/>
              </a:prstGeom>
              <a:solidFill>
                <a:srgbClr val="F3F3F3"/>
              </a:solidFill>
              <a:ln w="12700" cap="rnd">
                <a:solidFill>
                  <a:srgbClr val="B2B2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E443CDD-02BD-4771-B540-2A7CBC5688AD}"/>
                </a:ext>
              </a:extLst>
            </p:cNvPr>
            <p:cNvSpPr/>
            <p:nvPr/>
          </p:nvSpPr>
          <p:spPr bwMode="auto">
            <a:xfrm>
              <a:off x="7111294" y="2913072"/>
              <a:ext cx="4542231" cy="2069970"/>
            </a:xfrm>
            <a:prstGeom prst="roundRect">
              <a:avLst>
                <a:gd name="adj" fmla="val 10215"/>
              </a:avLst>
            </a:prstGeom>
            <a:noFill/>
            <a:ln w="19050" cap="rnd">
              <a:solidFill>
                <a:schemeClr val="tx1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de-DE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75DEB4F0-2D40-47B6-944A-977C67929E91}"/>
                </a:ext>
              </a:extLst>
            </p:cNvPr>
            <p:cNvSpPr txBox="1"/>
            <p:nvPr/>
          </p:nvSpPr>
          <p:spPr>
            <a:xfrm>
              <a:off x="7330936" y="3133410"/>
              <a:ext cx="4322583" cy="1384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de-DE" sz="980" spc="294" dirty="0">
                  <a:solidFill>
                    <a:srgbClr val="282828"/>
                  </a:solidFill>
                  <a:latin typeface="Segoe UI Semibold"/>
                </a:rPr>
                <a:t>IHR ABONNEMENT - IHR KONTROLL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4979BBB-CF3D-48A5-9F8F-A32FEA6EDF73}"/>
                </a:ext>
              </a:extLst>
            </p:cNvPr>
            <p:cNvSpPr txBox="1"/>
            <p:nvPr/>
          </p:nvSpPr>
          <p:spPr>
            <a:xfrm>
              <a:off x="7890959" y="3643863"/>
              <a:ext cx="745158" cy="27692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defRPr/>
              </a:pP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Windows 7</a:t>
              </a:r>
            </a:p>
            <a:p>
              <a:pPr defTabSz="914139">
                <a:defRPr/>
              </a:pP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Enterprise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B1A9172B-A14F-445C-8E24-64980CF73B4E}"/>
                </a:ext>
              </a:extLst>
            </p:cNvPr>
            <p:cNvGrpSpPr/>
            <p:nvPr/>
          </p:nvGrpSpPr>
          <p:grpSpPr>
            <a:xfrm>
              <a:off x="8755129" y="4407249"/>
              <a:ext cx="1162095" cy="196240"/>
              <a:chOff x="8283778" y="6304514"/>
              <a:chExt cx="1162262" cy="196268"/>
            </a:xfrm>
          </p:grpSpPr>
          <p:sp>
            <p:nvSpPr>
              <p:cNvPr id="185" name="Browser_4" title="Icon of a website or an app window">
                <a:extLst>
                  <a:ext uri="{FF2B5EF4-FFF2-40B4-BE49-F238E27FC236}">
                    <a16:creationId xmlns:a16="http://schemas.microsoft.com/office/drawing/2014/main" id="{7248367C-CBD1-40EA-860E-8FE8EF84C83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283778" y="6304514"/>
                <a:ext cx="265203" cy="196268"/>
              </a:xfrm>
              <a:custGeom>
                <a:avLst/>
                <a:gdLst>
                  <a:gd name="T0" fmla="*/ 80 w 604"/>
                  <a:gd name="T1" fmla="*/ 244 h 447"/>
                  <a:gd name="T2" fmla="*/ 320 w 604"/>
                  <a:gd name="T3" fmla="*/ 244 h 447"/>
                  <a:gd name="T4" fmla="*/ 80 w 604"/>
                  <a:gd name="T5" fmla="*/ 367 h 447"/>
                  <a:gd name="T6" fmla="*/ 320 w 604"/>
                  <a:gd name="T7" fmla="*/ 367 h 447"/>
                  <a:gd name="T8" fmla="*/ 525 w 604"/>
                  <a:gd name="T9" fmla="*/ 305 h 447"/>
                  <a:gd name="T10" fmla="*/ 525 w 604"/>
                  <a:gd name="T11" fmla="*/ 244 h 447"/>
                  <a:gd name="T12" fmla="*/ 403 w 604"/>
                  <a:gd name="T13" fmla="*/ 244 h 447"/>
                  <a:gd name="T14" fmla="*/ 403 w 604"/>
                  <a:gd name="T15" fmla="*/ 367 h 447"/>
                  <a:gd name="T16" fmla="*/ 525 w 604"/>
                  <a:gd name="T17" fmla="*/ 367 h 447"/>
                  <a:gd name="T18" fmla="*/ 525 w 604"/>
                  <a:gd name="T19" fmla="*/ 305 h 447"/>
                  <a:gd name="T20" fmla="*/ 525 w 604"/>
                  <a:gd name="T21" fmla="*/ 123 h 447"/>
                  <a:gd name="T22" fmla="*/ 525 w 604"/>
                  <a:gd name="T23" fmla="*/ 80 h 447"/>
                  <a:gd name="T24" fmla="*/ 82 w 604"/>
                  <a:gd name="T25" fmla="*/ 80 h 447"/>
                  <a:gd name="T26" fmla="*/ 82 w 604"/>
                  <a:gd name="T27" fmla="*/ 166 h 447"/>
                  <a:gd name="T28" fmla="*/ 525 w 604"/>
                  <a:gd name="T29" fmla="*/ 166 h 447"/>
                  <a:gd name="T30" fmla="*/ 525 w 604"/>
                  <a:gd name="T31" fmla="*/ 123 h 447"/>
                  <a:gd name="T32" fmla="*/ 604 w 604"/>
                  <a:gd name="T33" fmla="*/ 225 h 447"/>
                  <a:gd name="T34" fmla="*/ 604 w 604"/>
                  <a:gd name="T35" fmla="*/ 0 h 447"/>
                  <a:gd name="T36" fmla="*/ 0 w 604"/>
                  <a:gd name="T37" fmla="*/ 0 h 447"/>
                  <a:gd name="T38" fmla="*/ 0 w 604"/>
                  <a:gd name="T39" fmla="*/ 447 h 447"/>
                  <a:gd name="T40" fmla="*/ 604 w 604"/>
                  <a:gd name="T41" fmla="*/ 447 h 447"/>
                  <a:gd name="T42" fmla="*/ 604 w 604"/>
                  <a:gd name="T43" fmla="*/ 225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4" h="447">
                    <a:moveTo>
                      <a:pt x="80" y="244"/>
                    </a:moveTo>
                    <a:lnTo>
                      <a:pt x="320" y="244"/>
                    </a:lnTo>
                    <a:moveTo>
                      <a:pt x="80" y="367"/>
                    </a:moveTo>
                    <a:lnTo>
                      <a:pt x="320" y="367"/>
                    </a:lnTo>
                    <a:moveTo>
                      <a:pt x="525" y="305"/>
                    </a:moveTo>
                    <a:lnTo>
                      <a:pt x="525" y="244"/>
                    </a:lnTo>
                    <a:lnTo>
                      <a:pt x="403" y="244"/>
                    </a:lnTo>
                    <a:lnTo>
                      <a:pt x="403" y="367"/>
                    </a:lnTo>
                    <a:lnTo>
                      <a:pt x="525" y="367"/>
                    </a:lnTo>
                    <a:lnTo>
                      <a:pt x="525" y="305"/>
                    </a:lnTo>
                    <a:moveTo>
                      <a:pt x="525" y="123"/>
                    </a:moveTo>
                    <a:lnTo>
                      <a:pt x="525" y="80"/>
                    </a:lnTo>
                    <a:lnTo>
                      <a:pt x="82" y="80"/>
                    </a:lnTo>
                    <a:lnTo>
                      <a:pt x="82" y="166"/>
                    </a:lnTo>
                    <a:lnTo>
                      <a:pt x="525" y="166"/>
                    </a:lnTo>
                    <a:lnTo>
                      <a:pt x="525" y="123"/>
                    </a:lnTo>
                    <a:moveTo>
                      <a:pt x="604" y="225"/>
                    </a:moveTo>
                    <a:lnTo>
                      <a:pt x="604" y="0"/>
                    </a:lnTo>
                    <a:lnTo>
                      <a:pt x="0" y="0"/>
                    </a:lnTo>
                    <a:lnTo>
                      <a:pt x="0" y="447"/>
                    </a:lnTo>
                    <a:lnTo>
                      <a:pt x="604" y="447"/>
                    </a:lnTo>
                    <a:lnTo>
                      <a:pt x="604" y="225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EF5BAFEB-C61F-4565-8247-B587691C5FCD}"/>
                  </a:ext>
                </a:extLst>
              </p:cNvPr>
              <p:cNvSpPr txBox="1"/>
              <p:nvPr/>
            </p:nvSpPr>
            <p:spPr>
              <a:xfrm>
                <a:off x="8749131" y="6304521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 err="1">
                    <a:solidFill>
                      <a:srgbClr val="000000"/>
                    </a:solidFill>
                    <a:latin typeface="Segoe UI"/>
                  </a:rPr>
                  <a:t>RemoteApp</a:t>
                </a:r>
                <a:endParaRPr lang="de-DE" sz="882" dirty="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ECDD7604-1398-4BA9-991F-324FAA9FB598}"/>
                </a:ext>
              </a:extLst>
            </p:cNvPr>
            <p:cNvGrpSpPr/>
            <p:nvPr/>
          </p:nvGrpSpPr>
          <p:grpSpPr>
            <a:xfrm>
              <a:off x="7120244" y="486682"/>
              <a:ext cx="4533286" cy="2453555"/>
              <a:chOff x="6769675" y="2405063"/>
              <a:chExt cx="5229663" cy="2453903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188D4C79-6B73-4D0E-B7B5-E2731819FC35}"/>
                  </a:ext>
                </a:extLst>
              </p:cNvPr>
              <p:cNvSpPr/>
              <p:nvPr/>
            </p:nvSpPr>
            <p:spPr bwMode="auto">
              <a:xfrm>
                <a:off x="6769675" y="2405063"/>
                <a:ext cx="5229663" cy="2181226"/>
              </a:xfrm>
              <a:prstGeom prst="roundRect">
                <a:avLst>
                  <a:gd name="adj" fmla="val 10215"/>
                </a:avLst>
              </a:prstGeom>
              <a:noFill/>
              <a:ln w="19050" cap="rnd">
                <a:solidFill>
                  <a:schemeClr val="tx1"/>
                </a:solidFill>
                <a:prstDash val="sysDot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A0C4258B-4D50-4E5B-81AF-C444C34C5CB7}"/>
                  </a:ext>
                </a:extLst>
              </p:cNvPr>
              <p:cNvCxnSpPr>
                <a:cxnSpLocks/>
                <a:stCxn id="12" idx="2"/>
              </p:cNvCxnSpPr>
              <p:nvPr/>
            </p:nvCxnSpPr>
            <p:spPr>
              <a:xfrm>
                <a:off x="9384507" y="4586289"/>
                <a:ext cx="0" cy="272677"/>
              </a:xfrm>
              <a:prstGeom prst="straightConnector1">
                <a:avLst/>
              </a:prstGeom>
              <a:ln w="12700" cap="rnd">
                <a:solidFill>
                  <a:schemeClr val="tx1"/>
                </a:solidFill>
                <a:prstDash val="sysDot"/>
                <a:headEnd type="none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C25F09C4-32DD-48CB-BBD1-3A7CAB2F18CC}"/>
                </a:ext>
              </a:extLst>
            </p:cNvPr>
            <p:cNvGrpSpPr/>
            <p:nvPr/>
          </p:nvGrpSpPr>
          <p:grpSpPr>
            <a:xfrm>
              <a:off x="7352265" y="1137767"/>
              <a:ext cx="1216700" cy="497937"/>
              <a:chOff x="7001737" y="3056241"/>
              <a:chExt cx="1216873" cy="498008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1FE186B-7232-41FA-82B2-F1A125977FB2}"/>
                  </a:ext>
                </a:extLst>
              </p:cNvPr>
              <p:cNvSpPr txBox="1"/>
              <p:nvPr/>
            </p:nvSpPr>
            <p:spPr>
              <a:xfrm>
                <a:off x="7521701" y="3241764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Web </a:t>
                </a:r>
                <a:r>
                  <a:rPr lang="de-DE" sz="882" dirty="0" err="1">
                    <a:solidFill>
                      <a:srgbClr val="000000"/>
                    </a:solidFill>
                    <a:latin typeface="Segoe UI"/>
                  </a:rPr>
                  <a:t>access</a:t>
                </a:r>
                <a:endParaRPr lang="de-DE" sz="882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grpSp>
            <p:nvGrpSpPr>
              <p:cNvPr id="2073" name="Group 2072">
                <a:extLst>
                  <a:ext uri="{FF2B5EF4-FFF2-40B4-BE49-F238E27FC236}">
                    <a16:creationId xmlns:a16="http://schemas.microsoft.com/office/drawing/2014/main" id="{6C175802-B415-4002-AE61-C0A69815F72E}"/>
                  </a:ext>
                </a:extLst>
              </p:cNvPr>
              <p:cNvGrpSpPr/>
              <p:nvPr/>
            </p:nvGrpSpPr>
            <p:grpSpPr>
              <a:xfrm>
                <a:off x="7001737" y="3056241"/>
                <a:ext cx="485242" cy="498008"/>
                <a:chOff x="7001737" y="3056241"/>
                <a:chExt cx="485242" cy="498008"/>
              </a:xfrm>
            </p:grpSpPr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24122DD6-6CBE-46D6-BC52-05336530A9C1}"/>
                    </a:ext>
                  </a:extLst>
                </p:cNvPr>
                <p:cNvSpPr/>
                <p:nvPr/>
              </p:nvSpPr>
              <p:spPr bwMode="auto">
                <a:xfrm>
                  <a:off x="7044873" y="3112142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E55F5C63-2C97-456C-A8B6-C3C969F4AA9C}"/>
                    </a:ext>
                  </a:extLst>
                </p:cNvPr>
                <p:cNvSpPr/>
                <p:nvPr/>
              </p:nvSpPr>
              <p:spPr bwMode="auto">
                <a:xfrm>
                  <a:off x="7023305" y="3084192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64" name="Group 2063">
                  <a:extLst>
                    <a:ext uri="{FF2B5EF4-FFF2-40B4-BE49-F238E27FC236}">
                      <a16:creationId xmlns:a16="http://schemas.microsoft.com/office/drawing/2014/main" id="{7C3F7BC4-F2BA-4077-89EF-B2852E4B23F4}"/>
                    </a:ext>
                  </a:extLst>
                </p:cNvPr>
                <p:cNvGrpSpPr/>
                <p:nvPr/>
              </p:nvGrpSpPr>
              <p:grpSpPr>
                <a:xfrm>
                  <a:off x="7001737" y="3056241"/>
                  <a:ext cx="442106" cy="442107"/>
                  <a:chOff x="7001737" y="3056241"/>
                  <a:chExt cx="442106" cy="442107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D1575725-F6B5-4688-8C4A-DD4924C9295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001737" y="3056241"/>
                    <a:ext cx="442106" cy="442107"/>
                  </a:xfrm>
                  <a:prstGeom prst="rect">
                    <a:avLst/>
                  </a:prstGeom>
                  <a:solidFill>
                    <a:srgbClr val="F3F3F3"/>
                  </a:solidFill>
                  <a:ln w="12700" cap="rnd">
                    <a:solidFill>
                      <a:srgbClr val="B2B2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392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2353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39" name="globe_2" title="Icon of a sphere made of lines">
                    <a:extLst>
                      <a:ext uri="{FF2B5EF4-FFF2-40B4-BE49-F238E27FC236}">
                        <a16:creationId xmlns:a16="http://schemas.microsoft.com/office/drawing/2014/main" id="{31E643BA-FB69-4EFA-81A8-73C70C17A33C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7124656" y="3179160"/>
                    <a:ext cx="196268" cy="196268"/>
                  </a:xfrm>
                  <a:custGeom>
                    <a:avLst/>
                    <a:gdLst>
                      <a:gd name="T0" fmla="*/ 0 w 335"/>
                      <a:gd name="T1" fmla="*/ 168 h 335"/>
                      <a:gd name="T2" fmla="*/ 168 w 335"/>
                      <a:gd name="T3" fmla="*/ 0 h 335"/>
                      <a:gd name="T4" fmla="*/ 335 w 335"/>
                      <a:gd name="T5" fmla="*/ 168 h 335"/>
                      <a:gd name="T6" fmla="*/ 168 w 335"/>
                      <a:gd name="T7" fmla="*/ 335 h 335"/>
                      <a:gd name="T8" fmla="*/ 0 w 335"/>
                      <a:gd name="T9" fmla="*/ 168 h 335"/>
                      <a:gd name="T10" fmla="*/ 168 w 335"/>
                      <a:gd name="T11" fmla="*/ 335 h 335"/>
                      <a:gd name="T12" fmla="*/ 253 w 335"/>
                      <a:gd name="T13" fmla="*/ 168 h 335"/>
                      <a:gd name="T14" fmla="*/ 168 w 335"/>
                      <a:gd name="T15" fmla="*/ 0 h 335"/>
                      <a:gd name="T16" fmla="*/ 82 w 335"/>
                      <a:gd name="T17" fmla="*/ 168 h 335"/>
                      <a:gd name="T18" fmla="*/ 168 w 335"/>
                      <a:gd name="T19" fmla="*/ 335 h 335"/>
                      <a:gd name="T20" fmla="*/ 8 w 335"/>
                      <a:gd name="T21" fmla="*/ 116 h 335"/>
                      <a:gd name="T22" fmla="*/ 327 w 335"/>
                      <a:gd name="T23" fmla="*/ 116 h 335"/>
                      <a:gd name="T24" fmla="*/ 9 w 335"/>
                      <a:gd name="T25" fmla="*/ 221 h 335"/>
                      <a:gd name="T26" fmla="*/ 326 w 335"/>
                      <a:gd name="T27" fmla="*/ 221 h 3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35" h="335">
                        <a:moveTo>
                          <a:pt x="0" y="168"/>
                        </a:moveTo>
                        <a:cubicBezTo>
                          <a:pt x="0" y="75"/>
                          <a:pt x="75" y="0"/>
                          <a:pt x="168" y="0"/>
                        </a:cubicBezTo>
                        <a:cubicBezTo>
                          <a:pt x="260" y="0"/>
                          <a:pt x="335" y="75"/>
                          <a:pt x="335" y="168"/>
                        </a:cubicBezTo>
                        <a:cubicBezTo>
                          <a:pt x="335" y="260"/>
                          <a:pt x="260" y="335"/>
                          <a:pt x="168" y="335"/>
                        </a:cubicBezTo>
                        <a:cubicBezTo>
                          <a:pt x="75" y="335"/>
                          <a:pt x="0" y="260"/>
                          <a:pt x="0" y="168"/>
                        </a:cubicBezTo>
                        <a:close/>
                        <a:moveTo>
                          <a:pt x="168" y="335"/>
                        </a:moveTo>
                        <a:cubicBezTo>
                          <a:pt x="215" y="335"/>
                          <a:pt x="253" y="260"/>
                          <a:pt x="253" y="168"/>
                        </a:cubicBezTo>
                        <a:cubicBezTo>
                          <a:pt x="253" y="75"/>
                          <a:pt x="215" y="0"/>
                          <a:pt x="168" y="0"/>
                        </a:cubicBezTo>
                        <a:cubicBezTo>
                          <a:pt x="120" y="0"/>
                          <a:pt x="82" y="75"/>
                          <a:pt x="82" y="168"/>
                        </a:cubicBezTo>
                        <a:cubicBezTo>
                          <a:pt x="82" y="260"/>
                          <a:pt x="120" y="335"/>
                          <a:pt x="168" y="335"/>
                        </a:cubicBezTo>
                        <a:close/>
                        <a:moveTo>
                          <a:pt x="8" y="116"/>
                        </a:moveTo>
                        <a:cubicBezTo>
                          <a:pt x="327" y="116"/>
                          <a:pt x="327" y="116"/>
                          <a:pt x="327" y="116"/>
                        </a:cubicBezTo>
                        <a:moveTo>
                          <a:pt x="9" y="221"/>
                        </a:moveTo>
                        <a:cubicBezTo>
                          <a:pt x="326" y="221"/>
                          <a:pt x="326" y="221"/>
                          <a:pt x="326" y="221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87845" tIns="43923" rIns="87845" bIns="4392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78379" fontAlgn="base">
                      <a:defRPr/>
                    </a:pPr>
                    <a:endParaRPr lang="de-DE" sz="865" dirty="0">
                      <a:gradFill>
                        <a:gsLst>
                          <a:gs pos="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</a:gradFill>
                      <a:latin typeface="Segoe UI"/>
                    </a:endParaRPr>
                  </a:p>
                </p:txBody>
              </p:sp>
            </p:grpSp>
          </p:grp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0B4B3BF-75D8-44D5-8A1A-990F0D977884}"/>
                </a:ext>
              </a:extLst>
            </p:cNvPr>
            <p:cNvGrpSpPr/>
            <p:nvPr/>
          </p:nvGrpSpPr>
          <p:grpSpPr>
            <a:xfrm>
              <a:off x="7352266" y="1871717"/>
              <a:ext cx="1215030" cy="497937"/>
              <a:chOff x="7001737" y="3790295"/>
              <a:chExt cx="1215203" cy="498008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8670D364-EE65-4C48-AEC2-D56E5B0C8340}"/>
                  </a:ext>
                </a:extLst>
              </p:cNvPr>
              <p:cNvSpPr txBox="1"/>
              <p:nvPr/>
            </p:nvSpPr>
            <p:spPr>
              <a:xfrm>
                <a:off x="7520031" y="3975818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Management</a:t>
                </a:r>
              </a:p>
            </p:txBody>
          </p:sp>
          <p:grpSp>
            <p:nvGrpSpPr>
              <p:cNvPr id="2074" name="Group 2073">
                <a:extLst>
                  <a:ext uri="{FF2B5EF4-FFF2-40B4-BE49-F238E27FC236}">
                    <a16:creationId xmlns:a16="http://schemas.microsoft.com/office/drawing/2014/main" id="{1CB0CCFC-3FA1-460F-A843-2C0DDD0A696A}"/>
                  </a:ext>
                </a:extLst>
              </p:cNvPr>
              <p:cNvGrpSpPr/>
              <p:nvPr/>
            </p:nvGrpSpPr>
            <p:grpSpPr>
              <a:xfrm>
                <a:off x="7001737" y="3790295"/>
                <a:ext cx="485242" cy="498008"/>
                <a:chOff x="7001737" y="3790295"/>
                <a:chExt cx="485242" cy="498008"/>
              </a:xfrm>
            </p:grpSpPr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6B680D9-7A10-4FB9-9153-236FB991D0A1}"/>
                    </a:ext>
                  </a:extLst>
                </p:cNvPr>
                <p:cNvSpPr/>
                <p:nvPr/>
              </p:nvSpPr>
              <p:spPr bwMode="auto">
                <a:xfrm>
                  <a:off x="7044873" y="384619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6D9D395B-463D-4F64-8730-20229B2CB84C}"/>
                    </a:ext>
                  </a:extLst>
                </p:cNvPr>
                <p:cNvSpPr/>
                <p:nvPr/>
              </p:nvSpPr>
              <p:spPr bwMode="auto">
                <a:xfrm>
                  <a:off x="7023305" y="381824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65" name="Group 2064">
                  <a:extLst>
                    <a:ext uri="{FF2B5EF4-FFF2-40B4-BE49-F238E27FC236}">
                      <a16:creationId xmlns:a16="http://schemas.microsoft.com/office/drawing/2014/main" id="{B6C40349-FDA9-4C2C-BE2A-E7ECF4114700}"/>
                    </a:ext>
                  </a:extLst>
                </p:cNvPr>
                <p:cNvGrpSpPr/>
                <p:nvPr/>
              </p:nvGrpSpPr>
              <p:grpSpPr>
                <a:xfrm>
                  <a:off x="7001737" y="3790295"/>
                  <a:ext cx="442106" cy="442107"/>
                  <a:chOff x="7001737" y="3790295"/>
                  <a:chExt cx="442106" cy="442107"/>
                </a:xfrm>
              </p:grpSpPr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18E228F7-4248-4B83-BE59-C54EF1B8936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7001737" y="3790295"/>
                    <a:ext cx="442106" cy="442107"/>
                  </a:xfrm>
                  <a:prstGeom prst="rect">
                    <a:avLst/>
                  </a:prstGeom>
                  <a:solidFill>
                    <a:srgbClr val="F3F3F3"/>
                  </a:solidFill>
                  <a:ln w="12700" cap="rnd">
                    <a:solidFill>
                      <a:srgbClr val="B2B2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392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2353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0" name="globe_6" title="Icon of a monitor in front of a sphere made of lines">
                    <a:extLst>
                      <a:ext uri="{FF2B5EF4-FFF2-40B4-BE49-F238E27FC236}">
                        <a16:creationId xmlns:a16="http://schemas.microsoft.com/office/drawing/2014/main" id="{1C5ED1BC-2765-4960-B962-611FF05D3E1A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7131184" y="3913214"/>
                    <a:ext cx="183213" cy="196268"/>
                  </a:xfrm>
                  <a:custGeom>
                    <a:avLst/>
                    <a:gdLst>
                      <a:gd name="T0" fmla="*/ 210 w 296"/>
                      <a:gd name="T1" fmla="*/ 147 h 318"/>
                      <a:gd name="T2" fmla="*/ 105 w 296"/>
                      <a:gd name="T3" fmla="*/ 147 h 318"/>
                      <a:gd name="T4" fmla="*/ 105 w 296"/>
                      <a:gd name="T5" fmla="*/ 140 h 318"/>
                      <a:gd name="T6" fmla="*/ 109 w 296"/>
                      <a:gd name="T7" fmla="*/ 83 h 318"/>
                      <a:gd name="T8" fmla="*/ 157 w 296"/>
                      <a:gd name="T9" fmla="*/ 0 h 318"/>
                      <a:gd name="T10" fmla="*/ 157 w 296"/>
                      <a:gd name="T11" fmla="*/ 0 h 318"/>
                      <a:gd name="T12" fmla="*/ 159 w 296"/>
                      <a:gd name="T13" fmla="*/ 0 h 318"/>
                      <a:gd name="T14" fmla="*/ 206 w 296"/>
                      <a:gd name="T15" fmla="*/ 83 h 318"/>
                      <a:gd name="T16" fmla="*/ 210 w 296"/>
                      <a:gd name="T17" fmla="*/ 137 h 318"/>
                      <a:gd name="T18" fmla="*/ 210 w 296"/>
                      <a:gd name="T19" fmla="*/ 147 h 318"/>
                      <a:gd name="T20" fmla="*/ 31 w 296"/>
                      <a:gd name="T21" fmla="*/ 83 h 318"/>
                      <a:gd name="T22" fmla="*/ 284 w 296"/>
                      <a:gd name="T23" fmla="*/ 83 h 318"/>
                      <a:gd name="T24" fmla="*/ 286 w 296"/>
                      <a:gd name="T25" fmla="*/ 189 h 318"/>
                      <a:gd name="T26" fmla="*/ 286 w 296"/>
                      <a:gd name="T27" fmla="*/ 189 h 318"/>
                      <a:gd name="T28" fmla="*/ 210 w 296"/>
                      <a:gd name="T29" fmla="*/ 189 h 318"/>
                      <a:gd name="T30" fmla="*/ 19 w 296"/>
                      <a:gd name="T31" fmla="*/ 147 h 318"/>
                      <a:gd name="T32" fmla="*/ 0 w 296"/>
                      <a:gd name="T33" fmla="*/ 147 h 318"/>
                      <a:gd name="T34" fmla="*/ 0 w 296"/>
                      <a:gd name="T35" fmla="*/ 277 h 318"/>
                      <a:gd name="T36" fmla="*/ 106 w 296"/>
                      <a:gd name="T37" fmla="*/ 277 h 318"/>
                      <a:gd name="T38" fmla="*/ 157 w 296"/>
                      <a:gd name="T39" fmla="*/ 277 h 318"/>
                      <a:gd name="T40" fmla="*/ 210 w 296"/>
                      <a:gd name="T41" fmla="*/ 189 h 318"/>
                      <a:gd name="T42" fmla="*/ 210 w 296"/>
                      <a:gd name="T43" fmla="*/ 267 h 318"/>
                      <a:gd name="T44" fmla="*/ 286 w 296"/>
                      <a:gd name="T45" fmla="*/ 189 h 318"/>
                      <a:gd name="T46" fmla="*/ 296 w 296"/>
                      <a:gd name="T47" fmla="*/ 139 h 318"/>
                      <a:gd name="T48" fmla="*/ 159 w 296"/>
                      <a:gd name="T49" fmla="*/ 0 h 318"/>
                      <a:gd name="T50" fmla="*/ 157 w 296"/>
                      <a:gd name="T51" fmla="*/ 0 h 318"/>
                      <a:gd name="T52" fmla="*/ 157 w 296"/>
                      <a:gd name="T53" fmla="*/ 0 h 318"/>
                      <a:gd name="T54" fmla="*/ 31 w 296"/>
                      <a:gd name="T55" fmla="*/ 83 h 318"/>
                      <a:gd name="T56" fmla="*/ 19 w 296"/>
                      <a:gd name="T57" fmla="*/ 139 h 318"/>
                      <a:gd name="T58" fmla="*/ 19 w 296"/>
                      <a:gd name="T59" fmla="*/ 147 h 318"/>
                      <a:gd name="T60" fmla="*/ 105 w 296"/>
                      <a:gd name="T61" fmla="*/ 147 h 318"/>
                      <a:gd name="T62" fmla="*/ 210 w 296"/>
                      <a:gd name="T63" fmla="*/ 147 h 318"/>
                      <a:gd name="T64" fmla="*/ 210 w 296"/>
                      <a:gd name="T65" fmla="*/ 189 h 318"/>
                      <a:gd name="T66" fmla="*/ 157 w 296"/>
                      <a:gd name="T67" fmla="*/ 277 h 318"/>
                      <a:gd name="T68" fmla="*/ 210 w 296"/>
                      <a:gd name="T69" fmla="*/ 277 h 318"/>
                      <a:gd name="T70" fmla="*/ 210 w 296"/>
                      <a:gd name="T71" fmla="*/ 267 h 318"/>
                      <a:gd name="T72" fmla="*/ 57 w 296"/>
                      <a:gd name="T73" fmla="*/ 318 h 318"/>
                      <a:gd name="T74" fmla="*/ 154 w 296"/>
                      <a:gd name="T75" fmla="*/ 318 h 318"/>
                      <a:gd name="T76" fmla="*/ 106 w 296"/>
                      <a:gd name="T77" fmla="*/ 277 h 318"/>
                      <a:gd name="T78" fmla="*/ 106 w 296"/>
                      <a:gd name="T79" fmla="*/ 318 h 3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296" h="318">
                        <a:moveTo>
                          <a:pt x="210" y="147"/>
                        </a:moveTo>
                        <a:cubicBezTo>
                          <a:pt x="105" y="147"/>
                          <a:pt x="105" y="147"/>
                          <a:pt x="105" y="147"/>
                        </a:cubicBezTo>
                        <a:cubicBezTo>
                          <a:pt x="105" y="145"/>
                          <a:pt x="105" y="142"/>
                          <a:pt x="105" y="140"/>
                        </a:cubicBezTo>
                        <a:cubicBezTo>
                          <a:pt x="105" y="120"/>
                          <a:pt x="106" y="100"/>
                          <a:pt x="109" y="83"/>
                        </a:cubicBezTo>
                        <a:cubicBezTo>
                          <a:pt x="118" y="35"/>
                          <a:pt x="136" y="1"/>
                          <a:pt x="157" y="0"/>
                        </a:cubicBezTo>
                        <a:cubicBezTo>
                          <a:pt x="157" y="0"/>
                          <a:pt x="157" y="0"/>
                          <a:pt x="157" y="0"/>
                        </a:cubicBezTo>
                        <a:cubicBezTo>
                          <a:pt x="158" y="0"/>
                          <a:pt x="159" y="0"/>
                          <a:pt x="159" y="0"/>
                        </a:cubicBezTo>
                        <a:cubicBezTo>
                          <a:pt x="180" y="2"/>
                          <a:pt x="198" y="35"/>
                          <a:pt x="206" y="83"/>
                        </a:cubicBezTo>
                        <a:cubicBezTo>
                          <a:pt x="208" y="100"/>
                          <a:pt x="210" y="118"/>
                          <a:pt x="210" y="137"/>
                        </a:cubicBezTo>
                        <a:cubicBezTo>
                          <a:pt x="210" y="142"/>
                          <a:pt x="210" y="147"/>
                          <a:pt x="210" y="147"/>
                        </a:cubicBezTo>
                        <a:close/>
                        <a:moveTo>
                          <a:pt x="31" y="83"/>
                        </a:moveTo>
                        <a:cubicBezTo>
                          <a:pt x="284" y="83"/>
                          <a:pt x="284" y="83"/>
                          <a:pt x="284" y="83"/>
                        </a:cubicBezTo>
                        <a:moveTo>
                          <a:pt x="286" y="189"/>
                        </a:moveTo>
                        <a:cubicBezTo>
                          <a:pt x="286" y="189"/>
                          <a:pt x="286" y="189"/>
                          <a:pt x="286" y="189"/>
                        </a:cubicBezTo>
                        <a:cubicBezTo>
                          <a:pt x="210" y="189"/>
                          <a:pt x="210" y="189"/>
                          <a:pt x="210" y="189"/>
                        </a:cubicBezTo>
                        <a:moveTo>
                          <a:pt x="19" y="147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277"/>
                          <a:pt x="0" y="277"/>
                          <a:pt x="0" y="277"/>
                        </a:cubicBezTo>
                        <a:cubicBezTo>
                          <a:pt x="106" y="277"/>
                          <a:pt x="106" y="277"/>
                          <a:pt x="106" y="277"/>
                        </a:cubicBezTo>
                        <a:cubicBezTo>
                          <a:pt x="157" y="277"/>
                          <a:pt x="157" y="277"/>
                          <a:pt x="157" y="277"/>
                        </a:cubicBezTo>
                        <a:moveTo>
                          <a:pt x="210" y="189"/>
                        </a:moveTo>
                        <a:cubicBezTo>
                          <a:pt x="210" y="267"/>
                          <a:pt x="210" y="267"/>
                          <a:pt x="210" y="267"/>
                        </a:cubicBezTo>
                        <a:cubicBezTo>
                          <a:pt x="245" y="252"/>
                          <a:pt x="272" y="224"/>
                          <a:pt x="286" y="189"/>
                        </a:cubicBezTo>
                        <a:cubicBezTo>
                          <a:pt x="292" y="174"/>
                          <a:pt x="296" y="156"/>
                          <a:pt x="296" y="139"/>
                        </a:cubicBezTo>
                        <a:cubicBezTo>
                          <a:pt x="296" y="63"/>
                          <a:pt x="235" y="1"/>
                          <a:pt x="159" y="0"/>
                        </a:cubicBezTo>
                        <a:cubicBezTo>
                          <a:pt x="159" y="0"/>
                          <a:pt x="158" y="0"/>
                          <a:pt x="157" y="0"/>
                        </a:cubicBezTo>
                        <a:cubicBezTo>
                          <a:pt x="157" y="0"/>
                          <a:pt x="157" y="0"/>
                          <a:pt x="157" y="0"/>
                        </a:cubicBezTo>
                        <a:cubicBezTo>
                          <a:pt x="101" y="0"/>
                          <a:pt x="52" y="34"/>
                          <a:pt x="31" y="83"/>
                        </a:cubicBezTo>
                        <a:cubicBezTo>
                          <a:pt x="23" y="100"/>
                          <a:pt x="19" y="119"/>
                          <a:pt x="19" y="139"/>
                        </a:cubicBezTo>
                        <a:cubicBezTo>
                          <a:pt x="19" y="142"/>
                          <a:pt x="19" y="145"/>
                          <a:pt x="19" y="147"/>
                        </a:cubicBezTo>
                        <a:cubicBezTo>
                          <a:pt x="105" y="147"/>
                          <a:pt x="105" y="147"/>
                          <a:pt x="105" y="147"/>
                        </a:cubicBezTo>
                        <a:cubicBezTo>
                          <a:pt x="210" y="147"/>
                          <a:pt x="210" y="147"/>
                          <a:pt x="210" y="147"/>
                        </a:cubicBezTo>
                        <a:cubicBezTo>
                          <a:pt x="210" y="189"/>
                          <a:pt x="210" y="189"/>
                          <a:pt x="210" y="189"/>
                        </a:cubicBezTo>
                        <a:moveTo>
                          <a:pt x="157" y="277"/>
                        </a:moveTo>
                        <a:cubicBezTo>
                          <a:pt x="210" y="277"/>
                          <a:pt x="210" y="277"/>
                          <a:pt x="210" y="277"/>
                        </a:cubicBezTo>
                        <a:cubicBezTo>
                          <a:pt x="210" y="267"/>
                          <a:pt x="210" y="267"/>
                          <a:pt x="210" y="267"/>
                        </a:cubicBezTo>
                        <a:moveTo>
                          <a:pt x="57" y="318"/>
                        </a:moveTo>
                        <a:cubicBezTo>
                          <a:pt x="154" y="318"/>
                          <a:pt x="154" y="318"/>
                          <a:pt x="154" y="318"/>
                        </a:cubicBezTo>
                        <a:moveTo>
                          <a:pt x="106" y="277"/>
                        </a:moveTo>
                        <a:cubicBezTo>
                          <a:pt x="106" y="318"/>
                          <a:pt x="106" y="318"/>
                          <a:pt x="106" y="318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87845" tIns="43923" rIns="87845" bIns="4392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78379" fontAlgn="base">
                      <a:defRPr/>
                    </a:pPr>
                    <a:endParaRPr lang="de-DE" sz="1632" dirty="0">
                      <a:solidFill>
                        <a:srgbClr val="505050"/>
                      </a:solidFill>
                      <a:latin typeface="Segoe UI"/>
                    </a:endParaRPr>
                  </a:p>
                </p:txBody>
              </p:sp>
            </p:grpSp>
          </p:grp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6A58F7C4-AC29-4B03-BB99-DB69CC8A22DB}"/>
                </a:ext>
              </a:extLst>
            </p:cNvPr>
            <p:cNvGrpSpPr/>
            <p:nvPr/>
          </p:nvGrpSpPr>
          <p:grpSpPr>
            <a:xfrm>
              <a:off x="8666701" y="1141606"/>
              <a:ext cx="1216389" cy="497937"/>
              <a:chOff x="8250884" y="3060081"/>
              <a:chExt cx="1216562" cy="498008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AC432ABB-B8B3-4170-84C6-F05517AFF26D}"/>
                  </a:ext>
                </a:extLst>
              </p:cNvPr>
              <p:cNvSpPr txBox="1"/>
              <p:nvPr/>
            </p:nvSpPr>
            <p:spPr>
              <a:xfrm>
                <a:off x="8770537" y="3207137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 err="1">
                    <a:solidFill>
                      <a:srgbClr val="000000"/>
                    </a:solidFill>
                    <a:latin typeface="Segoe UI"/>
                  </a:rPr>
                  <a:t>Diagnostics</a:t>
                </a:r>
                <a:endParaRPr lang="de-DE" sz="882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grpSp>
            <p:nvGrpSpPr>
              <p:cNvPr id="2076" name="Group 2075">
                <a:extLst>
                  <a:ext uri="{FF2B5EF4-FFF2-40B4-BE49-F238E27FC236}">
                    <a16:creationId xmlns:a16="http://schemas.microsoft.com/office/drawing/2014/main" id="{27918477-619D-4A37-BA4F-99051DDC8835}"/>
                  </a:ext>
                </a:extLst>
              </p:cNvPr>
              <p:cNvGrpSpPr/>
              <p:nvPr/>
            </p:nvGrpSpPr>
            <p:grpSpPr>
              <a:xfrm>
                <a:off x="8250884" y="3060081"/>
                <a:ext cx="485242" cy="498008"/>
                <a:chOff x="8250884" y="3060081"/>
                <a:chExt cx="485242" cy="498008"/>
              </a:xfrm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B9D8E2E-5905-4DCC-8239-95086CBDA56C}"/>
                    </a:ext>
                  </a:extLst>
                </p:cNvPr>
                <p:cNvSpPr/>
                <p:nvPr/>
              </p:nvSpPr>
              <p:spPr bwMode="auto">
                <a:xfrm>
                  <a:off x="8294020" y="3115982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1020506B-326D-4C59-8A3B-C42369047330}"/>
                    </a:ext>
                  </a:extLst>
                </p:cNvPr>
                <p:cNvSpPr/>
                <p:nvPr/>
              </p:nvSpPr>
              <p:spPr bwMode="auto">
                <a:xfrm>
                  <a:off x="8272452" y="3088032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66" name="Group 2065">
                  <a:extLst>
                    <a:ext uri="{FF2B5EF4-FFF2-40B4-BE49-F238E27FC236}">
                      <a16:creationId xmlns:a16="http://schemas.microsoft.com/office/drawing/2014/main" id="{9671EE2A-52DB-466C-BB20-8E45F92B452A}"/>
                    </a:ext>
                  </a:extLst>
                </p:cNvPr>
                <p:cNvGrpSpPr/>
                <p:nvPr/>
              </p:nvGrpSpPr>
              <p:grpSpPr>
                <a:xfrm>
                  <a:off x="8250884" y="3060081"/>
                  <a:ext cx="442106" cy="442107"/>
                  <a:chOff x="8250884" y="3060081"/>
                  <a:chExt cx="442106" cy="442107"/>
                </a:xfrm>
              </p:grpSpPr>
              <p:sp>
                <p:nvSpPr>
                  <p:cNvPr id="40" name="Rectangle 39">
                    <a:extLst>
                      <a:ext uri="{FF2B5EF4-FFF2-40B4-BE49-F238E27FC236}">
                        <a16:creationId xmlns:a16="http://schemas.microsoft.com/office/drawing/2014/main" id="{39845D99-2DF9-4E2C-86C4-5ED09CB2E6E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250884" y="3060081"/>
                    <a:ext cx="442106" cy="442107"/>
                  </a:xfrm>
                  <a:prstGeom prst="rect">
                    <a:avLst/>
                  </a:prstGeom>
                  <a:solidFill>
                    <a:srgbClr val="F3F3F3"/>
                  </a:solidFill>
                  <a:ln w="12700" cap="rnd">
                    <a:solidFill>
                      <a:srgbClr val="B2B2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392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2353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1" name="tool" title="Icon of a skrewdriver and wrench">
                    <a:extLst>
                      <a:ext uri="{FF2B5EF4-FFF2-40B4-BE49-F238E27FC236}">
                        <a16:creationId xmlns:a16="http://schemas.microsoft.com/office/drawing/2014/main" id="{19016A58-8E1F-41D8-B933-310A44A2CEB1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8402270" y="3183000"/>
                    <a:ext cx="139335" cy="196268"/>
                  </a:xfrm>
                  <a:custGeom>
                    <a:avLst/>
                    <a:gdLst>
                      <a:gd name="T0" fmla="*/ 196 w 256"/>
                      <a:gd name="T1" fmla="*/ 0 h 360"/>
                      <a:gd name="T2" fmla="*/ 256 w 256"/>
                      <a:gd name="T3" fmla="*/ 60 h 360"/>
                      <a:gd name="T4" fmla="*/ 230 w 256"/>
                      <a:gd name="T5" fmla="*/ 110 h 360"/>
                      <a:gd name="T6" fmla="*/ 222 w 256"/>
                      <a:gd name="T7" fmla="*/ 114 h 360"/>
                      <a:gd name="T8" fmla="*/ 222 w 256"/>
                      <a:gd name="T9" fmla="*/ 334 h 360"/>
                      <a:gd name="T10" fmla="*/ 196 w 256"/>
                      <a:gd name="T11" fmla="*/ 360 h 360"/>
                      <a:gd name="T12" fmla="*/ 170 w 256"/>
                      <a:gd name="T13" fmla="*/ 334 h 360"/>
                      <a:gd name="T14" fmla="*/ 170 w 256"/>
                      <a:gd name="T15" fmla="*/ 114 h 360"/>
                      <a:gd name="T16" fmla="*/ 162 w 256"/>
                      <a:gd name="T17" fmla="*/ 110 h 360"/>
                      <a:gd name="T18" fmla="*/ 136 w 256"/>
                      <a:gd name="T19" fmla="*/ 60 h 360"/>
                      <a:gd name="T20" fmla="*/ 196 w 256"/>
                      <a:gd name="T21" fmla="*/ 0 h 360"/>
                      <a:gd name="T22" fmla="*/ 0 w 256"/>
                      <a:gd name="T23" fmla="*/ 193 h 360"/>
                      <a:gd name="T24" fmla="*/ 0 w 256"/>
                      <a:gd name="T25" fmla="*/ 219 h 360"/>
                      <a:gd name="T26" fmla="*/ 0 w 256"/>
                      <a:gd name="T27" fmla="*/ 287 h 360"/>
                      <a:gd name="T28" fmla="*/ 0 w 256"/>
                      <a:gd name="T29" fmla="*/ 334 h 360"/>
                      <a:gd name="T30" fmla="*/ 26 w 256"/>
                      <a:gd name="T31" fmla="*/ 360 h 360"/>
                      <a:gd name="T32" fmla="*/ 53 w 256"/>
                      <a:gd name="T33" fmla="*/ 334 h 360"/>
                      <a:gd name="T34" fmla="*/ 53 w 256"/>
                      <a:gd name="T35" fmla="*/ 287 h 360"/>
                      <a:gd name="T36" fmla="*/ 53 w 256"/>
                      <a:gd name="T37" fmla="*/ 219 h 360"/>
                      <a:gd name="T38" fmla="*/ 53 w 256"/>
                      <a:gd name="T39" fmla="*/ 193 h 360"/>
                      <a:gd name="T40" fmla="*/ 26 w 256"/>
                      <a:gd name="T41" fmla="*/ 193 h 360"/>
                      <a:gd name="T42" fmla="*/ 0 w 256"/>
                      <a:gd name="T43" fmla="*/ 193 h 360"/>
                      <a:gd name="T44" fmla="*/ 53 w 256"/>
                      <a:gd name="T45" fmla="*/ 0 h 360"/>
                      <a:gd name="T46" fmla="*/ 0 w 256"/>
                      <a:gd name="T47" fmla="*/ 0 h 360"/>
                      <a:gd name="T48" fmla="*/ 0 w 256"/>
                      <a:gd name="T49" fmla="*/ 42 h 360"/>
                      <a:gd name="T50" fmla="*/ 26 w 256"/>
                      <a:gd name="T51" fmla="*/ 68 h 360"/>
                      <a:gd name="T52" fmla="*/ 53 w 256"/>
                      <a:gd name="T53" fmla="*/ 42 h 360"/>
                      <a:gd name="T54" fmla="*/ 53 w 256"/>
                      <a:gd name="T55" fmla="*/ 0 h 360"/>
                      <a:gd name="T56" fmla="*/ 26 w 256"/>
                      <a:gd name="T57" fmla="*/ 68 h 360"/>
                      <a:gd name="T58" fmla="*/ 26 w 256"/>
                      <a:gd name="T59" fmla="*/ 193 h 360"/>
                      <a:gd name="T60" fmla="*/ 193 w 256"/>
                      <a:gd name="T61" fmla="*/ 0 h 360"/>
                      <a:gd name="T62" fmla="*/ 193 w 256"/>
                      <a:gd name="T63" fmla="*/ 57 h 3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56" h="360">
                        <a:moveTo>
                          <a:pt x="196" y="0"/>
                        </a:moveTo>
                        <a:cubicBezTo>
                          <a:pt x="229" y="0"/>
                          <a:pt x="256" y="27"/>
                          <a:pt x="256" y="60"/>
                        </a:cubicBezTo>
                        <a:cubicBezTo>
                          <a:pt x="256" y="81"/>
                          <a:pt x="246" y="99"/>
                          <a:pt x="230" y="110"/>
                        </a:cubicBezTo>
                        <a:cubicBezTo>
                          <a:pt x="222" y="114"/>
                          <a:pt x="222" y="114"/>
                          <a:pt x="222" y="114"/>
                        </a:cubicBezTo>
                        <a:cubicBezTo>
                          <a:pt x="222" y="334"/>
                          <a:pt x="222" y="334"/>
                          <a:pt x="222" y="334"/>
                        </a:cubicBezTo>
                        <a:cubicBezTo>
                          <a:pt x="222" y="348"/>
                          <a:pt x="210" y="360"/>
                          <a:pt x="196" y="360"/>
                        </a:cubicBezTo>
                        <a:cubicBezTo>
                          <a:pt x="182" y="360"/>
                          <a:pt x="170" y="348"/>
                          <a:pt x="170" y="334"/>
                        </a:cubicBezTo>
                        <a:cubicBezTo>
                          <a:pt x="170" y="114"/>
                          <a:pt x="170" y="114"/>
                          <a:pt x="170" y="114"/>
                        </a:cubicBezTo>
                        <a:cubicBezTo>
                          <a:pt x="162" y="110"/>
                          <a:pt x="162" y="110"/>
                          <a:pt x="162" y="110"/>
                        </a:cubicBezTo>
                        <a:cubicBezTo>
                          <a:pt x="147" y="99"/>
                          <a:pt x="136" y="81"/>
                          <a:pt x="136" y="60"/>
                        </a:cubicBezTo>
                        <a:cubicBezTo>
                          <a:pt x="136" y="27"/>
                          <a:pt x="163" y="0"/>
                          <a:pt x="196" y="0"/>
                        </a:cubicBezTo>
                        <a:close/>
                        <a:moveTo>
                          <a:pt x="0" y="193"/>
                        </a:moveTo>
                        <a:cubicBezTo>
                          <a:pt x="0" y="219"/>
                          <a:pt x="0" y="219"/>
                          <a:pt x="0" y="219"/>
                        </a:cubicBezTo>
                        <a:cubicBezTo>
                          <a:pt x="0" y="287"/>
                          <a:pt x="0" y="287"/>
                          <a:pt x="0" y="287"/>
                        </a:cubicBezTo>
                        <a:cubicBezTo>
                          <a:pt x="0" y="334"/>
                          <a:pt x="0" y="334"/>
                          <a:pt x="0" y="334"/>
                        </a:cubicBezTo>
                        <a:cubicBezTo>
                          <a:pt x="0" y="348"/>
                          <a:pt x="12" y="360"/>
                          <a:pt x="26" y="360"/>
                        </a:cubicBezTo>
                        <a:cubicBezTo>
                          <a:pt x="41" y="360"/>
                          <a:pt x="53" y="348"/>
                          <a:pt x="53" y="334"/>
                        </a:cubicBezTo>
                        <a:cubicBezTo>
                          <a:pt x="53" y="287"/>
                          <a:pt x="53" y="287"/>
                          <a:pt x="53" y="287"/>
                        </a:cubicBezTo>
                        <a:cubicBezTo>
                          <a:pt x="53" y="219"/>
                          <a:pt x="53" y="219"/>
                          <a:pt x="53" y="219"/>
                        </a:cubicBezTo>
                        <a:cubicBezTo>
                          <a:pt x="53" y="193"/>
                          <a:pt x="53" y="193"/>
                          <a:pt x="53" y="193"/>
                        </a:cubicBezTo>
                        <a:cubicBezTo>
                          <a:pt x="26" y="193"/>
                          <a:pt x="26" y="193"/>
                          <a:pt x="26" y="193"/>
                        </a:cubicBezTo>
                        <a:cubicBezTo>
                          <a:pt x="0" y="193"/>
                          <a:pt x="0" y="193"/>
                          <a:pt x="0" y="193"/>
                        </a:cubicBezTo>
                        <a:close/>
                        <a:moveTo>
                          <a:pt x="53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42"/>
                          <a:pt x="0" y="42"/>
                          <a:pt x="0" y="42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53" y="42"/>
                          <a:pt x="53" y="42"/>
                          <a:pt x="53" y="42"/>
                        </a:cubicBezTo>
                        <a:cubicBezTo>
                          <a:pt x="53" y="0"/>
                          <a:pt x="53" y="0"/>
                          <a:pt x="53" y="0"/>
                        </a:cubicBezTo>
                        <a:close/>
                        <a:moveTo>
                          <a:pt x="26" y="68"/>
                        </a:moveTo>
                        <a:cubicBezTo>
                          <a:pt x="26" y="193"/>
                          <a:pt x="26" y="193"/>
                          <a:pt x="26" y="193"/>
                        </a:cubicBezTo>
                        <a:moveTo>
                          <a:pt x="193" y="0"/>
                        </a:moveTo>
                        <a:cubicBezTo>
                          <a:pt x="193" y="57"/>
                          <a:pt x="193" y="57"/>
                          <a:pt x="193" y="57"/>
                        </a:cubicBezTo>
                      </a:path>
                    </a:pathLst>
                  </a:custGeom>
                  <a:noFill/>
                  <a:ln w="12700" cap="sq">
                    <a:solidFill>
                      <a:schemeClr val="accent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7845" tIns="43923" rIns="87845" bIns="4392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78379" fontAlgn="base">
                      <a:defRPr/>
                    </a:pPr>
                    <a:endParaRPr lang="de-DE" sz="1632" dirty="0">
                      <a:gradFill>
                        <a:gsLst>
                          <a:gs pos="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</a:gradFill>
                      <a:latin typeface="Segoe UI"/>
                    </a:endParaRPr>
                  </a:p>
                </p:txBody>
              </p:sp>
            </p:grpSp>
          </p:grp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24FE3D6A-B86E-4ABC-B6DE-2BF19CEC20D0}"/>
                </a:ext>
              </a:extLst>
            </p:cNvPr>
            <p:cNvGrpSpPr/>
            <p:nvPr/>
          </p:nvGrpSpPr>
          <p:grpSpPr>
            <a:xfrm>
              <a:off x="9980831" y="1145446"/>
              <a:ext cx="1216078" cy="497937"/>
              <a:chOff x="9500031" y="3063921"/>
              <a:chExt cx="1216251" cy="498008"/>
            </a:xfrm>
          </p:grpSpPr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E1381C92-0128-497D-8B10-8DFC3AA94E56}"/>
                  </a:ext>
                </a:extLst>
              </p:cNvPr>
              <p:cNvSpPr txBox="1"/>
              <p:nvPr/>
            </p:nvSpPr>
            <p:spPr>
              <a:xfrm>
                <a:off x="10019373" y="3241764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Gateway</a:t>
                </a:r>
              </a:p>
            </p:txBody>
          </p:sp>
          <p:grpSp>
            <p:nvGrpSpPr>
              <p:cNvPr id="2077" name="Group 2076">
                <a:extLst>
                  <a:ext uri="{FF2B5EF4-FFF2-40B4-BE49-F238E27FC236}">
                    <a16:creationId xmlns:a16="http://schemas.microsoft.com/office/drawing/2014/main" id="{1477C32C-39AE-403E-8927-29840B6A7B48}"/>
                  </a:ext>
                </a:extLst>
              </p:cNvPr>
              <p:cNvGrpSpPr/>
              <p:nvPr/>
            </p:nvGrpSpPr>
            <p:grpSpPr>
              <a:xfrm>
                <a:off x="9500031" y="3063921"/>
                <a:ext cx="485242" cy="498008"/>
                <a:chOff x="9500031" y="3063921"/>
                <a:chExt cx="485242" cy="49800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50C3E760-290A-42AE-8901-2FA427284B6D}"/>
                    </a:ext>
                  </a:extLst>
                </p:cNvPr>
                <p:cNvSpPr/>
                <p:nvPr/>
              </p:nvSpPr>
              <p:spPr bwMode="auto">
                <a:xfrm>
                  <a:off x="9543167" y="3119822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6934EF0-01F5-4FAB-937E-D7316A1304CA}"/>
                    </a:ext>
                  </a:extLst>
                </p:cNvPr>
                <p:cNvSpPr/>
                <p:nvPr/>
              </p:nvSpPr>
              <p:spPr bwMode="auto">
                <a:xfrm>
                  <a:off x="9521599" y="3091872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67" name="Group 2066">
                  <a:extLst>
                    <a:ext uri="{FF2B5EF4-FFF2-40B4-BE49-F238E27FC236}">
                      <a16:creationId xmlns:a16="http://schemas.microsoft.com/office/drawing/2014/main" id="{BFB297D9-581B-4901-8551-5AD39F4E58EB}"/>
                    </a:ext>
                  </a:extLst>
                </p:cNvPr>
                <p:cNvGrpSpPr/>
                <p:nvPr/>
              </p:nvGrpSpPr>
              <p:grpSpPr>
                <a:xfrm>
                  <a:off x="9500031" y="3063921"/>
                  <a:ext cx="442106" cy="442107"/>
                  <a:chOff x="9500031" y="3063921"/>
                  <a:chExt cx="442106" cy="442107"/>
                </a:xfrm>
              </p:grpSpPr>
              <p:sp>
                <p:nvSpPr>
                  <p:cNvPr id="49" name="Rectangle 48">
                    <a:extLst>
                      <a:ext uri="{FF2B5EF4-FFF2-40B4-BE49-F238E27FC236}">
                        <a16:creationId xmlns:a16="http://schemas.microsoft.com/office/drawing/2014/main" id="{9841EBDB-4FC6-4901-A3F1-61F0958C1B0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500031" y="3063921"/>
                    <a:ext cx="442106" cy="442107"/>
                  </a:xfrm>
                  <a:prstGeom prst="rect">
                    <a:avLst/>
                  </a:prstGeom>
                  <a:solidFill>
                    <a:srgbClr val="F3F3F3"/>
                  </a:solidFill>
                  <a:ln w="12700" cap="rnd">
                    <a:solidFill>
                      <a:srgbClr val="B2B2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392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2353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4" name="Move_E7C2" title="Icon of four arrows pointing away from eachother">
                    <a:extLst>
                      <a:ext uri="{FF2B5EF4-FFF2-40B4-BE49-F238E27FC236}">
                        <a16:creationId xmlns:a16="http://schemas.microsoft.com/office/drawing/2014/main" id="{39317A0A-BCEF-4CCB-AED3-7D3E68CF859F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9622975" y="3186840"/>
                    <a:ext cx="196219" cy="196268"/>
                  </a:xfrm>
                  <a:custGeom>
                    <a:avLst/>
                    <a:gdLst>
                      <a:gd name="T0" fmla="*/ 736 w 3999"/>
                      <a:gd name="T1" fmla="*/ 2737 h 4000"/>
                      <a:gd name="T2" fmla="*/ 0 w 3999"/>
                      <a:gd name="T3" fmla="*/ 2001 h 4000"/>
                      <a:gd name="T4" fmla="*/ 736 w 3999"/>
                      <a:gd name="T5" fmla="*/ 1264 h 4000"/>
                      <a:gd name="T6" fmla="*/ 86 w 3999"/>
                      <a:gd name="T7" fmla="*/ 2001 h 4000"/>
                      <a:gd name="T8" fmla="*/ 1264 w 3999"/>
                      <a:gd name="T9" fmla="*/ 2001 h 4000"/>
                      <a:gd name="T10" fmla="*/ 1264 w 3999"/>
                      <a:gd name="T11" fmla="*/ 3265 h 4000"/>
                      <a:gd name="T12" fmla="*/ 2000 w 3999"/>
                      <a:gd name="T13" fmla="*/ 4000 h 4000"/>
                      <a:gd name="T14" fmla="*/ 2735 w 3999"/>
                      <a:gd name="T15" fmla="*/ 3265 h 4000"/>
                      <a:gd name="T16" fmla="*/ 2000 w 3999"/>
                      <a:gd name="T17" fmla="*/ 3915 h 4000"/>
                      <a:gd name="T18" fmla="*/ 2000 w 3999"/>
                      <a:gd name="T19" fmla="*/ 2737 h 4000"/>
                      <a:gd name="T20" fmla="*/ 3264 w 3999"/>
                      <a:gd name="T21" fmla="*/ 2737 h 4000"/>
                      <a:gd name="T22" fmla="*/ 3999 w 3999"/>
                      <a:gd name="T23" fmla="*/ 2001 h 4000"/>
                      <a:gd name="T24" fmla="*/ 3264 w 3999"/>
                      <a:gd name="T25" fmla="*/ 1264 h 4000"/>
                      <a:gd name="T26" fmla="*/ 3913 w 3999"/>
                      <a:gd name="T27" fmla="*/ 2001 h 4000"/>
                      <a:gd name="T28" fmla="*/ 2735 w 3999"/>
                      <a:gd name="T29" fmla="*/ 2001 h 4000"/>
                      <a:gd name="T30" fmla="*/ 2735 w 3999"/>
                      <a:gd name="T31" fmla="*/ 736 h 4000"/>
                      <a:gd name="T32" fmla="*/ 2000 w 3999"/>
                      <a:gd name="T33" fmla="*/ 0 h 4000"/>
                      <a:gd name="T34" fmla="*/ 1264 w 3999"/>
                      <a:gd name="T35" fmla="*/ 736 h 4000"/>
                      <a:gd name="T36" fmla="*/ 2000 w 3999"/>
                      <a:gd name="T37" fmla="*/ 86 h 4000"/>
                      <a:gd name="T38" fmla="*/ 2000 w 3999"/>
                      <a:gd name="T39" fmla="*/ 1264 h 40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3999" h="4000">
                        <a:moveTo>
                          <a:pt x="736" y="2737"/>
                        </a:moveTo>
                        <a:lnTo>
                          <a:pt x="0" y="2001"/>
                        </a:lnTo>
                        <a:lnTo>
                          <a:pt x="736" y="1264"/>
                        </a:lnTo>
                        <a:moveTo>
                          <a:pt x="86" y="2001"/>
                        </a:moveTo>
                        <a:lnTo>
                          <a:pt x="1264" y="2001"/>
                        </a:lnTo>
                        <a:moveTo>
                          <a:pt x="1264" y="3265"/>
                        </a:moveTo>
                        <a:lnTo>
                          <a:pt x="2000" y="4000"/>
                        </a:lnTo>
                        <a:lnTo>
                          <a:pt x="2735" y="3265"/>
                        </a:lnTo>
                        <a:moveTo>
                          <a:pt x="2000" y="3915"/>
                        </a:moveTo>
                        <a:lnTo>
                          <a:pt x="2000" y="2737"/>
                        </a:lnTo>
                        <a:moveTo>
                          <a:pt x="3264" y="2737"/>
                        </a:moveTo>
                        <a:lnTo>
                          <a:pt x="3999" y="2001"/>
                        </a:lnTo>
                        <a:lnTo>
                          <a:pt x="3264" y="1264"/>
                        </a:lnTo>
                        <a:moveTo>
                          <a:pt x="3913" y="2001"/>
                        </a:moveTo>
                        <a:lnTo>
                          <a:pt x="2735" y="2001"/>
                        </a:lnTo>
                        <a:moveTo>
                          <a:pt x="2735" y="736"/>
                        </a:moveTo>
                        <a:lnTo>
                          <a:pt x="2000" y="0"/>
                        </a:lnTo>
                        <a:lnTo>
                          <a:pt x="1264" y="736"/>
                        </a:lnTo>
                        <a:moveTo>
                          <a:pt x="2000" y="86"/>
                        </a:moveTo>
                        <a:lnTo>
                          <a:pt x="2000" y="1264"/>
                        </a:lnTo>
                      </a:path>
                    </a:pathLst>
                  </a:custGeom>
                  <a:noFill/>
                  <a:ln w="12700" cap="sq">
                    <a:solidFill>
                      <a:schemeClr val="accent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7845" tIns="43923" rIns="87845" bIns="4392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78379" fontAlgn="base">
                      <a:defRPr/>
                    </a:pPr>
                    <a:endParaRPr lang="de-DE" sz="865" dirty="0">
                      <a:gradFill>
                        <a:gsLst>
                          <a:gs pos="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</p:grpSp>
          </p:grp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3A52032-D81D-4F52-BEB9-66EDC8F79296}"/>
                </a:ext>
              </a:extLst>
            </p:cNvPr>
            <p:cNvGrpSpPr/>
            <p:nvPr/>
          </p:nvGrpSpPr>
          <p:grpSpPr>
            <a:xfrm>
              <a:off x="8666701" y="1872487"/>
              <a:ext cx="1216389" cy="497937"/>
              <a:chOff x="8120868" y="3791065"/>
              <a:chExt cx="1216562" cy="498008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70B2F40B-6C92-4F93-B699-56561295A9A6}"/>
                  </a:ext>
                </a:extLst>
              </p:cNvPr>
              <p:cNvSpPr txBox="1"/>
              <p:nvPr/>
            </p:nvSpPr>
            <p:spPr>
              <a:xfrm>
                <a:off x="8640521" y="3964908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Broker</a:t>
                </a:r>
              </a:p>
            </p:txBody>
          </p:sp>
          <p:grpSp>
            <p:nvGrpSpPr>
              <p:cNvPr id="2078" name="Group 2077">
                <a:extLst>
                  <a:ext uri="{FF2B5EF4-FFF2-40B4-BE49-F238E27FC236}">
                    <a16:creationId xmlns:a16="http://schemas.microsoft.com/office/drawing/2014/main" id="{4F7FA898-5789-4556-BD69-8578262E7696}"/>
                  </a:ext>
                </a:extLst>
              </p:cNvPr>
              <p:cNvGrpSpPr/>
              <p:nvPr/>
            </p:nvGrpSpPr>
            <p:grpSpPr>
              <a:xfrm>
                <a:off x="8120868" y="3791065"/>
                <a:ext cx="485242" cy="498008"/>
                <a:chOff x="8120868" y="3791065"/>
                <a:chExt cx="485242" cy="498008"/>
              </a:xfrm>
            </p:grpSpPr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EBBB64C0-B636-4A61-A288-CB2EBE9DC759}"/>
                    </a:ext>
                  </a:extLst>
                </p:cNvPr>
                <p:cNvSpPr/>
                <p:nvPr/>
              </p:nvSpPr>
              <p:spPr bwMode="auto">
                <a:xfrm>
                  <a:off x="8164004" y="384696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E9CC5AC9-1A68-4146-9EB1-DDEB626C9D1C}"/>
                    </a:ext>
                  </a:extLst>
                </p:cNvPr>
                <p:cNvSpPr/>
                <p:nvPr/>
              </p:nvSpPr>
              <p:spPr bwMode="auto">
                <a:xfrm>
                  <a:off x="8142436" y="381901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068" name="Group 2067">
                  <a:extLst>
                    <a:ext uri="{FF2B5EF4-FFF2-40B4-BE49-F238E27FC236}">
                      <a16:creationId xmlns:a16="http://schemas.microsoft.com/office/drawing/2014/main" id="{0D4D5576-9582-4BED-A203-63538DB9415B}"/>
                    </a:ext>
                  </a:extLst>
                </p:cNvPr>
                <p:cNvGrpSpPr/>
                <p:nvPr/>
              </p:nvGrpSpPr>
              <p:grpSpPr>
                <a:xfrm>
                  <a:off x="8120868" y="3791065"/>
                  <a:ext cx="442106" cy="442107"/>
                  <a:chOff x="8120868" y="3791065"/>
                  <a:chExt cx="442106" cy="442107"/>
                </a:xfrm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78CE55F8-A4CA-402E-8BDD-6079D7DF894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20868" y="3791065"/>
                    <a:ext cx="442106" cy="442107"/>
                  </a:xfrm>
                  <a:prstGeom prst="rect">
                    <a:avLst/>
                  </a:prstGeom>
                  <a:solidFill>
                    <a:srgbClr val="F3F3F3"/>
                  </a:solidFill>
                  <a:ln w="12700" cap="rnd">
                    <a:solidFill>
                      <a:srgbClr val="B2B2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3927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de-DE" sz="2353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47" name="arrow_17" title="Icon of a curved arrow that splits in two directions">
                    <a:extLst>
                      <a:ext uri="{FF2B5EF4-FFF2-40B4-BE49-F238E27FC236}">
                        <a16:creationId xmlns:a16="http://schemas.microsoft.com/office/drawing/2014/main" id="{4B3E7A55-07A1-405F-8C56-D0497C5D9E6F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8262866" y="3902274"/>
                    <a:ext cx="158105" cy="196268"/>
                  </a:xfrm>
                  <a:custGeom>
                    <a:avLst/>
                    <a:gdLst>
                      <a:gd name="T0" fmla="*/ 228 w 280"/>
                      <a:gd name="T1" fmla="*/ 98 h 349"/>
                      <a:gd name="T2" fmla="*/ 279 w 280"/>
                      <a:gd name="T3" fmla="*/ 149 h 349"/>
                      <a:gd name="T4" fmla="*/ 228 w 280"/>
                      <a:gd name="T5" fmla="*/ 200 h 349"/>
                      <a:gd name="T6" fmla="*/ 73 w 280"/>
                      <a:gd name="T7" fmla="*/ 0 h 349"/>
                      <a:gd name="T8" fmla="*/ 0 w 280"/>
                      <a:gd name="T9" fmla="*/ 0 h 349"/>
                      <a:gd name="T10" fmla="*/ 0 w 280"/>
                      <a:gd name="T11" fmla="*/ 72 h 349"/>
                      <a:gd name="T12" fmla="*/ 130 w 280"/>
                      <a:gd name="T13" fmla="*/ 349 h 349"/>
                      <a:gd name="T14" fmla="*/ 0 w 280"/>
                      <a:gd name="T15" fmla="*/ 0 h 349"/>
                      <a:gd name="T16" fmla="*/ 280 w 280"/>
                      <a:gd name="T17" fmla="*/ 144 h 349"/>
                      <a:gd name="T18" fmla="*/ 280 w 280"/>
                      <a:gd name="T19" fmla="*/ 144 h 349"/>
                      <a:gd name="T20" fmla="*/ 280 w 280"/>
                      <a:gd name="T21" fmla="*/ 149 h 349"/>
                      <a:gd name="T22" fmla="*/ 131 w 280"/>
                      <a:gd name="T23" fmla="*/ 286 h 3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80" h="349">
                        <a:moveTo>
                          <a:pt x="228" y="98"/>
                        </a:moveTo>
                        <a:cubicBezTo>
                          <a:pt x="279" y="149"/>
                          <a:pt x="279" y="149"/>
                          <a:pt x="279" y="149"/>
                        </a:cubicBezTo>
                        <a:cubicBezTo>
                          <a:pt x="228" y="200"/>
                          <a:pt x="228" y="200"/>
                          <a:pt x="228" y="200"/>
                        </a:cubicBezTo>
                        <a:moveTo>
                          <a:pt x="73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72"/>
                          <a:pt x="0" y="72"/>
                          <a:pt x="0" y="72"/>
                        </a:cubicBezTo>
                        <a:moveTo>
                          <a:pt x="130" y="349"/>
                        </a:moveTo>
                        <a:cubicBezTo>
                          <a:pt x="144" y="79"/>
                          <a:pt x="0" y="0"/>
                          <a:pt x="0" y="0"/>
                        </a:cubicBezTo>
                        <a:moveTo>
                          <a:pt x="280" y="144"/>
                        </a:moveTo>
                        <a:cubicBezTo>
                          <a:pt x="280" y="144"/>
                          <a:pt x="280" y="144"/>
                          <a:pt x="280" y="144"/>
                        </a:cubicBezTo>
                        <a:moveTo>
                          <a:pt x="280" y="149"/>
                        </a:moveTo>
                        <a:cubicBezTo>
                          <a:pt x="280" y="149"/>
                          <a:pt x="124" y="129"/>
                          <a:pt x="131" y="286"/>
                        </a:cubicBezTo>
                      </a:path>
                    </a:pathLst>
                  </a:custGeom>
                  <a:noFill/>
                  <a:ln w="12700" cap="flat">
                    <a:solidFill>
                      <a:schemeClr val="accent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7845" tIns="43923" rIns="87845" bIns="4392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78379" fontAlgn="base">
                      <a:defRPr/>
                    </a:pPr>
                    <a:endParaRPr lang="de-DE" sz="865" dirty="0">
                      <a:gradFill>
                        <a:gsLst>
                          <a:gs pos="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1"/>
                      </a:gradFill>
                      <a:latin typeface="Segoe UI"/>
                    </a:endParaRPr>
                  </a:p>
                </p:txBody>
              </p:sp>
            </p:grpSp>
          </p:grpSp>
        </p:grp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7BDB90D0-359F-44C5-A118-B9010AD05217}"/>
                </a:ext>
              </a:extLst>
            </p:cNvPr>
            <p:cNvSpPr txBox="1"/>
            <p:nvPr/>
          </p:nvSpPr>
          <p:spPr>
            <a:xfrm>
              <a:off x="9220431" y="3622196"/>
              <a:ext cx="696810" cy="27692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defRPr/>
              </a:pP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Windows 10 Enterprise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B7A9255-BD11-4B65-A035-46A5E9F16866}"/>
                </a:ext>
              </a:extLst>
            </p:cNvPr>
            <p:cNvSpPr txBox="1"/>
            <p:nvPr/>
          </p:nvSpPr>
          <p:spPr>
            <a:xfrm>
              <a:off x="7352271" y="670093"/>
              <a:ext cx="2856410" cy="1357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896129">
                <a:lnSpc>
                  <a:spcPct val="90000"/>
                </a:lnSpc>
                <a:spcAft>
                  <a:spcPts val="575"/>
                </a:spcAft>
                <a:defRPr/>
              </a:pPr>
              <a:r>
                <a:rPr lang="de-DE" sz="961" spc="288" dirty="0">
                  <a:solidFill>
                    <a:srgbClr val="282828"/>
                  </a:solidFill>
                  <a:latin typeface="Segoe UI Semibold"/>
                </a:rPr>
                <a:t>VERWALTET VON MICROSOFT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0063AA6-2E15-412F-9722-449B94ABF90E}"/>
                </a:ext>
              </a:extLst>
            </p:cNvPr>
            <p:cNvGrpSpPr/>
            <p:nvPr/>
          </p:nvGrpSpPr>
          <p:grpSpPr>
            <a:xfrm>
              <a:off x="7348269" y="3546699"/>
              <a:ext cx="475258" cy="469991"/>
              <a:chOff x="7918570" y="5608091"/>
              <a:chExt cx="475326" cy="470057"/>
            </a:xfrm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A8EEA480-D375-4711-82EF-67F07EDC2F76}"/>
                  </a:ext>
                </a:extLst>
              </p:cNvPr>
              <p:cNvSpPr/>
              <p:nvPr/>
            </p:nvSpPr>
            <p:spPr bwMode="auto">
              <a:xfrm>
                <a:off x="7951790" y="5636041"/>
                <a:ext cx="442106" cy="442107"/>
              </a:xfrm>
              <a:prstGeom prst="rect">
                <a:avLst/>
              </a:prstGeom>
              <a:solidFill>
                <a:schemeClr val="accent5"/>
              </a:solidFill>
              <a:ln w="3175" cap="rnd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5" name="monitor" title="Icon of a monitor">
                <a:extLst>
                  <a:ext uri="{FF2B5EF4-FFF2-40B4-BE49-F238E27FC236}">
                    <a16:creationId xmlns:a16="http://schemas.microsoft.com/office/drawing/2014/main" id="{40949C75-7815-462D-B995-118E0EFDDDF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57531" y="5706932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3B2601D3-6F8D-48EF-BFA4-19A3BEA555C1}"/>
                  </a:ext>
                </a:extLst>
              </p:cNvPr>
              <p:cNvSpPr/>
              <p:nvPr/>
            </p:nvSpPr>
            <p:spPr bwMode="auto">
              <a:xfrm>
                <a:off x="7918570" y="5608091"/>
                <a:ext cx="442106" cy="442107"/>
              </a:xfrm>
              <a:prstGeom prst="rect">
                <a:avLst/>
              </a:prstGeom>
              <a:solidFill>
                <a:srgbClr val="F3F3F3"/>
              </a:solidFill>
              <a:ln w="12700" cap="rnd">
                <a:solidFill>
                  <a:srgbClr val="B2B2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8" name="monitor" title="Icon of a monitor">
                <a:extLst>
                  <a:ext uri="{FF2B5EF4-FFF2-40B4-BE49-F238E27FC236}">
                    <a16:creationId xmlns:a16="http://schemas.microsoft.com/office/drawing/2014/main" id="{6A083FB6-110F-4340-A3F7-29494668F3B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016955" y="5710287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64F32F09-3808-4A96-9F81-293FA7D1BEBD}"/>
                </a:ext>
              </a:extLst>
            </p:cNvPr>
            <p:cNvGrpSpPr/>
            <p:nvPr/>
          </p:nvGrpSpPr>
          <p:grpSpPr>
            <a:xfrm>
              <a:off x="8666706" y="3544947"/>
              <a:ext cx="475258" cy="469991"/>
              <a:chOff x="7918570" y="5608091"/>
              <a:chExt cx="475326" cy="470057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11C59B71-7A2C-4B2C-A45D-0B7EEDE3FEE9}"/>
                  </a:ext>
                </a:extLst>
              </p:cNvPr>
              <p:cNvSpPr/>
              <p:nvPr/>
            </p:nvSpPr>
            <p:spPr bwMode="auto">
              <a:xfrm>
                <a:off x="7951790" y="5636041"/>
                <a:ext cx="442106" cy="442107"/>
              </a:xfrm>
              <a:prstGeom prst="rect">
                <a:avLst/>
              </a:prstGeom>
              <a:solidFill>
                <a:schemeClr val="accent5"/>
              </a:solidFill>
              <a:ln w="3175" cap="rnd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1" name="monitor" title="Icon of a monitor">
                <a:extLst>
                  <a:ext uri="{FF2B5EF4-FFF2-40B4-BE49-F238E27FC236}">
                    <a16:creationId xmlns:a16="http://schemas.microsoft.com/office/drawing/2014/main" id="{B9D6B319-579B-4503-AC7E-A6B3FEA4A8F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57531" y="5706932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61DD8D9D-0830-4289-92A1-D335CB36EBAE}"/>
                  </a:ext>
                </a:extLst>
              </p:cNvPr>
              <p:cNvSpPr/>
              <p:nvPr/>
            </p:nvSpPr>
            <p:spPr bwMode="auto">
              <a:xfrm>
                <a:off x="7918570" y="5608091"/>
                <a:ext cx="442106" cy="442107"/>
              </a:xfrm>
              <a:prstGeom prst="rect">
                <a:avLst/>
              </a:prstGeom>
              <a:solidFill>
                <a:srgbClr val="F3F3F3"/>
              </a:solidFill>
              <a:ln w="12700" cap="rnd">
                <a:solidFill>
                  <a:srgbClr val="B2B2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monitor" title="Icon of a monitor">
                <a:extLst>
                  <a:ext uri="{FF2B5EF4-FFF2-40B4-BE49-F238E27FC236}">
                    <a16:creationId xmlns:a16="http://schemas.microsoft.com/office/drawing/2014/main" id="{09E78913-8B78-4476-A09E-6C5BAECBE29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016955" y="5710287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164F51C9-9D54-4F7E-8AED-495AD5E4FCE9}"/>
                </a:ext>
              </a:extLst>
            </p:cNvPr>
            <p:cNvGrpSpPr/>
            <p:nvPr/>
          </p:nvGrpSpPr>
          <p:grpSpPr>
            <a:xfrm>
              <a:off x="10000833" y="3544947"/>
              <a:ext cx="475258" cy="469991"/>
              <a:chOff x="7918570" y="5608091"/>
              <a:chExt cx="475326" cy="470057"/>
            </a:xfrm>
          </p:grpSpPr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227C7F70-693E-40CC-B78F-1461BE323629}"/>
                  </a:ext>
                </a:extLst>
              </p:cNvPr>
              <p:cNvSpPr/>
              <p:nvPr/>
            </p:nvSpPr>
            <p:spPr bwMode="auto">
              <a:xfrm>
                <a:off x="7951790" y="5636041"/>
                <a:ext cx="442106" cy="442107"/>
              </a:xfrm>
              <a:prstGeom prst="rect">
                <a:avLst/>
              </a:prstGeom>
              <a:solidFill>
                <a:schemeClr val="accent5"/>
              </a:solidFill>
              <a:ln w="3175" cap="rnd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6" name="monitor" title="Icon of a monitor">
                <a:extLst>
                  <a:ext uri="{FF2B5EF4-FFF2-40B4-BE49-F238E27FC236}">
                    <a16:creationId xmlns:a16="http://schemas.microsoft.com/office/drawing/2014/main" id="{8A14813C-8F06-4B27-BC0C-D6AAC99368D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57531" y="5706932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983563E8-B0CC-403B-96BA-92E9D98C7179}"/>
                  </a:ext>
                </a:extLst>
              </p:cNvPr>
              <p:cNvSpPr/>
              <p:nvPr/>
            </p:nvSpPr>
            <p:spPr bwMode="auto">
              <a:xfrm>
                <a:off x="7918570" y="5608091"/>
                <a:ext cx="442106" cy="442107"/>
              </a:xfrm>
              <a:prstGeom prst="rect">
                <a:avLst/>
              </a:prstGeom>
              <a:solidFill>
                <a:srgbClr val="F3F3F3"/>
              </a:solidFill>
              <a:ln w="12700" cap="rnd">
                <a:solidFill>
                  <a:srgbClr val="B2B2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8" name="monitor" title="Icon of a monitor">
                <a:extLst>
                  <a:ext uri="{FF2B5EF4-FFF2-40B4-BE49-F238E27FC236}">
                    <a16:creationId xmlns:a16="http://schemas.microsoft.com/office/drawing/2014/main" id="{F9A1FA14-BF80-4D94-9BE5-D56CB4C7B53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016955" y="5710287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</p:grp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9FBE72E4-F6D7-449A-9E14-98457EE13A52}"/>
                </a:ext>
              </a:extLst>
            </p:cNvPr>
            <p:cNvSpPr txBox="1"/>
            <p:nvPr/>
          </p:nvSpPr>
          <p:spPr>
            <a:xfrm>
              <a:off x="7890959" y="4287745"/>
              <a:ext cx="890017" cy="4153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defRPr/>
              </a:pP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Windows </a:t>
              </a:r>
              <a:br>
                <a:rPr lang="de-DE" sz="882" dirty="0">
                  <a:solidFill>
                    <a:srgbClr val="000000"/>
                  </a:solidFill>
                  <a:latin typeface="Segoe UI"/>
                </a:rPr>
              </a:b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Server 2012 </a:t>
              </a:r>
              <a:br>
                <a:rPr lang="de-DE" sz="882" dirty="0">
                  <a:solidFill>
                    <a:srgbClr val="000000"/>
                  </a:solidFill>
                  <a:latin typeface="Segoe UI"/>
                </a:rPr>
              </a:br>
              <a:r>
                <a:rPr lang="de-DE" sz="882" dirty="0">
                  <a:solidFill>
                    <a:srgbClr val="000000"/>
                  </a:solidFill>
                  <a:latin typeface="Segoe UI"/>
                </a:rPr>
                <a:t>R2 and </a:t>
              </a:r>
              <a:r>
                <a:rPr lang="de-DE" sz="882" dirty="0" err="1">
                  <a:solidFill>
                    <a:srgbClr val="000000"/>
                  </a:solidFill>
                  <a:latin typeface="Segoe UI"/>
                </a:rPr>
                <a:t>up</a:t>
              </a:r>
              <a:endParaRPr lang="de-DE" sz="882" dirty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258D5277-ADAB-4319-BB98-2BCBEA730874}"/>
                </a:ext>
              </a:extLst>
            </p:cNvPr>
            <p:cNvSpPr txBox="1"/>
            <p:nvPr/>
          </p:nvSpPr>
          <p:spPr>
            <a:xfrm>
              <a:off x="10535507" y="3576908"/>
              <a:ext cx="1059199" cy="40028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defRPr/>
              </a:pPr>
              <a:r>
                <a:rPr lang="de-DE" sz="850" dirty="0">
                  <a:solidFill>
                    <a:srgbClr val="000000"/>
                  </a:solidFill>
                  <a:latin typeface="Segoe UI"/>
                </a:rPr>
                <a:t>Windows 10 Enterprise multi-session</a:t>
              </a:r>
              <a:endParaRPr lang="de-DE" sz="882" dirty="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35FBBE9D-90EA-4ABC-B5DF-20F37AC2B1A0}"/>
                </a:ext>
              </a:extLst>
            </p:cNvPr>
            <p:cNvGrpSpPr/>
            <p:nvPr/>
          </p:nvGrpSpPr>
          <p:grpSpPr>
            <a:xfrm>
              <a:off x="7349220" y="4282462"/>
              <a:ext cx="475258" cy="469991"/>
              <a:chOff x="7918570" y="5608091"/>
              <a:chExt cx="475326" cy="470057"/>
            </a:xfrm>
          </p:grpSpPr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11080E07-404C-4AFA-90C3-92490DEBE47A}"/>
                  </a:ext>
                </a:extLst>
              </p:cNvPr>
              <p:cNvSpPr/>
              <p:nvPr/>
            </p:nvSpPr>
            <p:spPr bwMode="auto">
              <a:xfrm>
                <a:off x="7951790" y="5636041"/>
                <a:ext cx="442106" cy="442107"/>
              </a:xfrm>
              <a:prstGeom prst="rect">
                <a:avLst/>
              </a:prstGeom>
              <a:solidFill>
                <a:schemeClr val="accent5"/>
              </a:solidFill>
              <a:ln w="3175" cap="rnd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4" name="monitor" title="Icon of a monitor">
                <a:extLst>
                  <a:ext uri="{FF2B5EF4-FFF2-40B4-BE49-F238E27FC236}">
                    <a16:creationId xmlns:a16="http://schemas.microsoft.com/office/drawing/2014/main" id="{A5BE429D-AEF5-43E0-A878-4C13AD839CC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57531" y="5706932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99CE79BC-7E5A-44A6-B815-1AD7ECAD1AC1}"/>
                  </a:ext>
                </a:extLst>
              </p:cNvPr>
              <p:cNvSpPr/>
              <p:nvPr/>
            </p:nvSpPr>
            <p:spPr bwMode="auto">
              <a:xfrm>
                <a:off x="7918570" y="5608091"/>
                <a:ext cx="442106" cy="442107"/>
              </a:xfrm>
              <a:prstGeom prst="rect">
                <a:avLst/>
              </a:prstGeom>
              <a:solidFill>
                <a:srgbClr val="F3F3F3"/>
              </a:solidFill>
              <a:ln w="12700" cap="rnd">
                <a:solidFill>
                  <a:srgbClr val="B2B2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6" name="monitor" title="Icon of a monitor">
                <a:extLst>
                  <a:ext uri="{FF2B5EF4-FFF2-40B4-BE49-F238E27FC236}">
                    <a16:creationId xmlns:a16="http://schemas.microsoft.com/office/drawing/2014/main" id="{F6671E0D-BD0A-4F6B-9C15-EAE2B603E5A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016955" y="5710287"/>
                <a:ext cx="245335" cy="188023"/>
              </a:xfrm>
              <a:custGeom>
                <a:avLst/>
                <a:gdLst>
                  <a:gd name="T0" fmla="*/ 244 w 244"/>
                  <a:gd name="T1" fmla="*/ 68 h 187"/>
                  <a:gd name="T2" fmla="*/ 244 w 244"/>
                  <a:gd name="T3" fmla="*/ 151 h 187"/>
                  <a:gd name="T4" fmla="*/ 0 w 244"/>
                  <a:gd name="T5" fmla="*/ 151 h 187"/>
                  <a:gd name="T6" fmla="*/ 0 w 244"/>
                  <a:gd name="T7" fmla="*/ 0 h 187"/>
                  <a:gd name="T8" fmla="*/ 244 w 244"/>
                  <a:gd name="T9" fmla="*/ 0 h 187"/>
                  <a:gd name="T10" fmla="*/ 244 w 244"/>
                  <a:gd name="T11" fmla="*/ 68 h 187"/>
                  <a:gd name="T12" fmla="*/ 122 w 244"/>
                  <a:gd name="T13" fmla="*/ 151 h 187"/>
                  <a:gd name="T14" fmla="*/ 122 w 244"/>
                  <a:gd name="T15" fmla="*/ 187 h 187"/>
                  <a:gd name="T16" fmla="*/ 73 w 244"/>
                  <a:gd name="T17" fmla="*/ 187 h 187"/>
                  <a:gd name="T18" fmla="*/ 171 w 244"/>
                  <a:gd name="T1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" h="187">
                    <a:moveTo>
                      <a:pt x="244" y="68"/>
                    </a:moveTo>
                    <a:lnTo>
                      <a:pt x="244" y="151"/>
                    </a:lnTo>
                    <a:lnTo>
                      <a:pt x="0" y="151"/>
                    </a:lnTo>
                    <a:lnTo>
                      <a:pt x="0" y="0"/>
                    </a:lnTo>
                    <a:lnTo>
                      <a:pt x="244" y="0"/>
                    </a:lnTo>
                    <a:lnTo>
                      <a:pt x="244" y="68"/>
                    </a:lnTo>
                    <a:moveTo>
                      <a:pt x="122" y="151"/>
                    </a:moveTo>
                    <a:lnTo>
                      <a:pt x="122" y="187"/>
                    </a:lnTo>
                    <a:moveTo>
                      <a:pt x="73" y="187"/>
                    </a:moveTo>
                    <a:lnTo>
                      <a:pt x="171" y="187"/>
                    </a:lnTo>
                  </a:path>
                </a:pathLst>
              </a:custGeom>
              <a:noFill/>
              <a:ln w="12700" cap="sq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78379" fontAlgn="base">
                  <a:defRPr/>
                </a:pPr>
                <a:endParaRPr lang="de-DE" sz="1632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3A3243CF-E520-4E62-9440-E1A9005486A2}"/>
                </a:ext>
              </a:extLst>
            </p:cNvPr>
            <p:cNvGrpSpPr/>
            <p:nvPr/>
          </p:nvGrpSpPr>
          <p:grpSpPr>
            <a:xfrm>
              <a:off x="9980829" y="1871717"/>
              <a:ext cx="1357253" cy="497937"/>
              <a:chOff x="8120868" y="3791065"/>
              <a:chExt cx="1357446" cy="498008"/>
            </a:xfrm>
          </p:grpSpPr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46E76467-B42C-4C89-8572-261D93E516E3}"/>
                  </a:ext>
                </a:extLst>
              </p:cNvPr>
              <p:cNvSpPr txBox="1"/>
              <p:nvPr/>
            </p:nvSpPr>
            <p:spPr>
              <a:xfrm>
                <a:off x="8640521" y="3968219"/>
                <a:ext cx="837793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Load </a:t>
                </a:r>
                <a:r>
                  <a:rPr lang="de-DE" sz="882" dirty="0" err="1">
                    <a:solidFill>
                      <a:srgbClr val="000000"/>
                    </a:solidFill>
                    <a:latin typeface="Segoe UI"/>
                  </a:rPr>
                  <a:t>balancing</a:t>
                </a:r>
                <a:endParaRPr lang="de-DE" sz="882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8DF3BFC3-36E7-4828-8C4D-67BB4FC43997}"/>
                  </a:ext>
                </a:extLst>
              </p:cNvPr>
              <p:cNvGrpSpPr/>
              <p:nvPr/>
            </p:nvGrpSpPr>
            <p:grpSpPr>
              <a:xfrm>
                <a:off x="8120868" y="3791065"/>
                <a:ext cx="485242" cy="498008"/>
                <a:chOff x="8120868" y="3791065"/>
                <a:chExt cx="485242" cy="498008"/>
              </a:xfrm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49186DCF-5BBC-49CE-B7A4-8A54D709CF65}"/>
                    </a:ext>
                  </a:extLst>
                </p:cNvPr>
                <p:cNvSpPr/>
                <p:nvPr/>
              </p:nvSpPr>
              <p:spPr bwMode="auto">
                <a:xfrm>
                  <a:off x="8164004" y="384696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55452E7F-992B-425D-93FE-EEB530B31A0E}"/>
                    </a:ext>
                  </a:extLst>
                </p:cNvPr>
                <p:cNvSpPr/>
                <p:nvPr/>
              </p:nvSpPr>
              <p:spPr bwMode="auto">
                <a:xfrm>
                  <a:off x="8142436" y="381901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6BE513A0-8795-4813-B40A-B2AB51287855}"/>
                    </a:ext>
                  </a:extLst>
                </p:cNvPr>
                <p:cNvSpPr/>
                <p:nvPr/>
              </p:nvSpPr>
              <p:spPr bwMode="auto">
                <a:xfrm>
                  <a:off x="8120868" y="3791065"/>
                  <a:ext cx="442106" cy="442107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rgbClr val="B2B2B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1" name="MiniExpand_E93A" title="Icon of a rectangle on the lower-left inside a larger rectangle with an arrow pointed to the upper-right corner">
              <a:extLst>
                <a:ext uri="{FF2B5EF4-FFF2-40B4-BE49-F238E27FC236}">
                  <a16:creationId xmlns:a16="http://schemas.microsoft.com/office/drawing/2014/main" id="{6A9146AA-E1EC-4F26-8D29-576FC8143ED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85909" y="2004070"/>
              <a:ext cx="231832" cy="196240"/>
            </a:xfrm>
            <a:custGeom>
              <a:avLst/>
              <a:gdLst>
                <a:gd name="T0" fmla="*/ 3493 w 4781"/>
                <a:gd name="T1" fmla="*/ 0 h 4047"/>
                <a:gd name="T2" fmla="*/ 4781 w 4781"/>
                <a:gd name="T3" fmla="*/ 0 h 4047"/>
                <a:gd name="T4" fmla="*/ 4781 w 4781"/>
                <a:gd name="T5" fmla="*/ 1288 h 4047"/>
                <a:gd name="T6" fmla="*/ 4781 w 4781"/>
                <a:gd name="T7" fmla="*/ 0 h 4047"/>
                <a:gd name="T8" fmla="*/ 2889 w 4781"/>
                <a:gd name="T9" fmla="*/ 1894 h 4047"/>
                <a:gd name="T10" fmla="*/ 3126 w 4781"/>
                <a:gd name="T11" fmla="*/ 0 h 4047"/>
                <a:gd name="T12" fmla="*/ 0 w 4781"/>
                <a:gd name="T13" fmla="*/ 0 h 4047"/>
                <a:gd name="T14" fmla="*/ 0 w 4781"/>
                <a:gd name="T15" fmla="*/ 4047 h 4047"/>
                <a:gd name="T16" fmla="*/ 4781 w 4781"/>
                <a:gd name="T17" fmla="*/ 4047 h 4047"/>
                <a:gd name="T18" fmla="*/ 4781 w 4781"/>
                <a:gd name="T19" fmla="*/ 1656 h 4047"/>
                <a:gd name="T20" fmla="*/ 2207 w 4781"/>
                <a:gd name="T21" fmla="*/ 4047 h 4047"/>
                <a:gd name="T22" fmla="*/ 2207 w 4781"/>
                <a:gd name="T23" fmla="*/ 2575 h 4047"/>
                <a:gd name="T24" fmla="*/ 0 w 4781"/>
                <a:gd name="T25" fmla="*/ 2575 h 4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81" h="4047">
                  <a:moveTo>
                    <a:pt x="3493" y="0"/>
                  </a:moveTo>
                  <a:lnTo>
                    <a:pt x="4781" y="0"/>
                  </a:lnTo>
                  <a:lnTo>
                    <a:pt x="4781" y="1288"/>
                  </a:lnTo>
                  <a:moveTo>
                    <a:pt x="4781" y="0"/>
                  </a:moveTo>
                  <a:lnTo>
                    <a:pt x="2889" y="1894"/>
                  </a:lnTo>
                  <a:moveTo>
                    <a:pt x="3126" y="0"/>
                  </a:moveTo>
                  <a:lnTo>
                    <a:pt x="0" y="0"/>
                  </a:lnTo>
                  <a:lnTo>
                    <a:pt x="0" y="4047"/>
                  </a:lnTo>
                  <a:lnTo>
                    <a:pt x="4781" y="4047"/>
                  </a:lnTo>
                  <a:lnTo>
                    <a:pt x="4781" y="1656"/>
                  </a:lnTo>
                  <a:moveTo>
                    <a:pt x="2207" y="4047"/>
                  </a:moveTo>
                  <a:lnTo>
                    <a:pt x="2207" y="2575"/>
                  </a:lnTo>
                  <a:lnTo>
                    <a:pt x="0" y="2575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7845" tIns="43923" rIns="87845" bIns="43923" numCol="1" anchor="t" anchorCtr="0" compatLnSpc="1">
              <a:prstTxWarp prst="textNoShape">
                <a:avLst/>
              </a:prstTxWarp>
            </a:bodyPr>
            <a:lstStyle/>
            <a:p>
              <a:pPr algn="ctr" defTabSz="878379" fontAlgn="base">
                <a:defRPr/>
              </a:pPr>
              <a:endParaRPr lang="de-DE" sz="865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9FAD32B2-DFC6-4C4C-B1E5-90B8D7819C00}"/>
                </a:ext>
              </a:extLst>
            </p:cNvPr>
            <p:cNvSpPr/>
            <p:nvPr/>
          </p:nvSpPr>
          <p:spPr bwMode="auto">
            <a:xfrm>
              <a:off x="7111294" y="5244209"/>
              <a:ext cx="4542231" cy="1334356"/>
            </a:xfrm>
            <a:prstGeom prst="roundRect">
              <a:avLst>
                <a:gd name="adj" fmla="val 10215"/>
              </a:avLst>
            </a:prstGeom>
            <a:noFill/>
            <a:ln w="19050" cap="rnd">
              <a:solidFill>
                <a:schemeClr val="tx1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de-DE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D033E8D-A8A2-4C81-AE9E-8BDC1D2D10C2}"/>
                </a:ext>
              </a:extLst>
            </p:cNvPr>
            <p:cNvSpPr txBox="1"/>
            <p:nvPr/>
          </p:nvSpPr>
          <p:spPr>
            <a:xfrm>
              <a:off x="7330936" y="5445594"/>
              <a:ext cx="3431955" cy="1384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de-DE" sz="980" spc="294" dirty="0">
                  <a:solidFill>
                    <a:srgbClr val="282828"/>
                  </a:solidFill>
                  <a:latin typeface="Segoe UI Semibold"/>
                </a:rPr>
                <a:t>VERWALTET VON MICROSOFT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431E4C22-2C89-4B8A-979D-898282DF3791}"/>
                </a:ext>
              </a:extLst>
            </p:cNvPr>
            <p:cNvGrpSpPr/>
            <p:nvPr/>
          </p:nvGrpSpPr>
          <p:grpSpPr>
            <a:xfrm>
              <a:off x="7330931" y="5806760"/>
              <a:ext cx="1216389" cy="497934"/>
              <a:chOff x="8120868" y="3791065"/>
              <a:chExt cx="1216562" cy="498008"/>
            </a:xfrm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39048CA5-BE4E-4AC1-A6A0-A5283588B99D}"/>
                  </a:ext>
                </a:extLst>
              </p:cNvPr>
              <p:cNvSpPr txBox="1"/>
              <p:nvPr/>
            </p:nvSpPr>
            <p:spPr>
              <a:xfrm>
                <a:off x="8640521" y="3964907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 err="1">
                    <a:solidFill>
                      <a:srgbClr val="000000"/>
                    </a:solidFill>
                    <a:latin typeface="Segoe UI"/>
                  </a:rPr>
                  <a:t>Compute</a:t>
                </a:r>
                <a:endParaRPr lang="de-DE" sz="882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22148D1A-CFB0-4892-AAC2-2E15FD384554}"/>
                  </a:ext>
                </a:extLst>
              </p:cNvPr>
              <p:cNvGrpSpPr/>
              <p:nvPr/>
            </p:nvGrpSpPr>
            <p:grpSpPr>
              <a:xfrm>
                <a:off x="8120868" y="3791065"/>
                <a:ext cx="485242" cy="498008"/>
                <a:chOff x="8120868" y="3791065"/>
                <a:chExt cx="485242" cy="498008"/>
              </a:xfrm>
            </p:grpSpPr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A99C9A4F-61E2-499E-9E89-0423C0613BFD}"/>
                    </a:ext>
                  </a:extLst>
                </p:cNvPr>
                <p:cNvSpPr/>
                <p:nvPr/>
              </p:nvSpPr>
              <p:spPr bwMode="auto">
                <a:xfrm>
                  <a:off x="8164004" y="384696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7A94E36C-29CE-4D40-BC2C-216FEABC5DC4}"/>
                    </a:ext>
                  </a:extLst>
                </p:cNvPr>
                <p:cNvSpPr/>
                <p:nvPr/>
              </p:nvSpPr>
              <p:spPr bwMode="auto">
                <a:xfrm>
                  <a:off x="8142436" y="381901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A6318757-05A0-40E8-AB9C-09F1F0B67F11}"/>
                    </a:ext>
                  </a:extLst>
                </p:cNvPr>
                <p:cNvSpPr/>
                <p:nvPr/>
              </p:nvSpPr>
              <p:spPr bwMode="auto">
                <a:xfrm>
                  <a:off x="8120868" y="3791065"/>
                  <a:ext cx="442106" cy="442107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rgbClr val="B2B2B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D9C6A06C-C8F3-47E5-A0DA-965479A62E06}"/>
                </a:ext>
              </a:extLst>
            </p:cNvPr>
            <p:cNvGrpSpPr/>
            <p:nvPr/>
          </p:nvGrpSpPr>
          <p:grpSpPr>
            <a:xfrm>
              <a:off x="8669152" y="5797002"/>
              <a:ext cx="1216389" cy="497934"/>
              <a:chOff x="8120868" y="3791065"/>
              <a:chExt cx="1216562" cy="498008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EA47F66-25A8-4E14-A51F-8AC5F4182D90}"/>
                  </a:ext>
                </a:extLst>
              </p:cNvPr>
              <p:cNvSpPr txBox="1"/>
              <p:nvPr/>
            </p:nvSpPr>
            <p:spPr>
              <a:xfrm>
                <a:off x="8640521" y="3964907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Storag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7874C92E-E16B-49EC-A887-304AECDC486A}"/>
                  </a:ext>
                </a:extLst>
              </p:cNvPr>
              <p:cNvGrpSpPr/>
              <p:nvPr/>
            </p:nvGrpSpPr>
            <p:grpSpPr>
              <a:xfrm>
                <a:off x="8120868" y="3791065"/>
                <a:ext cx="485242" cy="498008"/>
                <a:chOff x="8120868" y="3791065"/>
                <a:chExt cx="485242" cy="498008"/>
              </a:xfrm>
            </p:grpSpPr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FC77B372-DDE4-4043-8A45-E89DD0966A24}"/>
                    </a:ext>
                  </a:extLst>
                </p:cNvPr>
                <p:cNvSpPr/>
                <p:nvPr/>
              </p:nvSpPr>
              <p:spPr bwMode="auto">
                <a:xfrm>
                  <a:off x="8164004" y="384696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DDABD047-B211-4059-BAF2-CC90CA9CDFD4}"/>
                    </a:ext>
                  </a:extLst>
                </p:cNvPr>
                <p:cNvSpPr/>
                <p:nvPr/>
              </p:nvSpPr>
              <p:spPr bwMode="auto">
                <a:xfrm>
                  <a:off x="8142436" y="381901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4AF7B332-7FCA-415B-ADE3-0BFCABC97197}"/>
                    </a:ext>
                  </a:extLst>
                </p:cNvPr>
                <p:cNvSpPr/>
                <p:nvPr/>
              </p:nvSpPr>
              <p:spPr bwMode="auto">
                <a:xfrm>
                  <a:off x="8120868" y="3791065"/>
                  <a:ext cx="442106" cy="442107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rgbClr val="B2B2B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5C0FD1BD-AAB2-4C69-9728-EF3DE1289709}"/>
                </a:ext>
              </a:extLst>
            </p:cNvPr>
            <p:cNvGrpSpPr/>
            <p:nvPr/>
          </p:nvGrpSpPr>
          <p:grpSpPr>
            <a:xfrm>
              <a:off x="9980514" y="5800428"/>
              <a:ext cx="1216389" cy="497934"/>
              <a:chOff x="8120868" y="3791065"/>
              <a:chExt cx="1216562" cy="498008"/>
            </a:xfrm>
          </p:grpSpPr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EEF8B4A9-8295-4D33-8001-480D34380AD4}"/>
                  </a:ext>
                </a:extLst>
              </p:cNvPr>
              <p:cNvSpPr txBox="1"/>
              <p:nvPr/>
            </p:nvSpPr>
            <p:spPr>
              <a:xfrm>
                <a:off x="8640521" y="3964907"/>
                <a:ext cx="696909" cy="1384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914139">
                  <a:defRPr/>
                </a:pPr>
                <a:r>
                  <a:rPr lang="de-DE" sz="882" dirty="0">
                    <a:solidFill>
                      <a:srgbClr val="000000"/>
                    </a:solidFill>
                    <a:latin typeface="Segoe UI"/>
                  </a:rPr>
                  <a:t>Networking</a:t>
                </a:r>
              </a:p>
            </p:txBody>
          </p: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DCE741D1-7B70-4375-B440-08DAE1F3F4DF}"/>
                  </a:ext>
                </a:extLst>
              </p:cNvPr>
              <p:cNvGrpSpPr/>
              <p:nvPr/>
            </p:nvGrpSpPr>
            <p:grpSpPr>
              <a:xfrm>
                <a:off x="8120868" y="3791065"/>
                <a:ext cx="485242" cy="498008"/>
                <a:chOff x="8120868" y="3791065"/>
                <a:chExt cx="485242" cy="498008"/>
              </a:xfrm>
            </p:grpSpPr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ED8D2DCE-E746-4AC2-B02D-18463800B063}"/>
                    </a:ext>
                  </a:extLst>
                </p:cNvPr>
                <p:cNvSpPr/>
                <p:nvPr/>
              </p:nvSpPr>
              <p:spPr bwMode="auto">
                <a:xfrm>
                  <a:off x="8164004" y="3846966"/>
                  <a:ext cx="442106" cy="442107"/>
                </a:xfrm>
                <a:prstGeom prst="rect">
                  <a:avLst/>
                </a:prstGeom>
                <a:solidFill>
                  <a:schemeClr val="accent5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A06D8BBA-4530-4509-89DC-886BBC8C22CB}"/>
                    </a:ext>
                  </a:extLst>
                </p:cNvPr>
                <p:cNvSpPr/>
                <p:nvPr/>
              </p:nvSpPr>
              <p:spPr bwMode="auto">
                <a:xfrm>
                  <a:off x="8142436" y="3819016"/>
                  <a:ext cx="442106" cy="442107"/>
                </a:xfrm>
                <a:prstGeom prst="rect">
                  <a:avLst/>
                </a:prstGeom>
                <a:solidFill>
                  <a:srgbClr val="B2B2B2"/>
                </a:solidFill>
                <a:ln w="3175" cap="rnd"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5FA37451-D31A-4592-A1C7-0876C9ECC02C}"/>
                    </a:ext>
                  </a:extLst>
                </p:cNvPr>
                <p:cNvSpPr/>
                <p:nvPr/>
              </p:nvSpPr>
              <p:spPr bwMode="auto">
                <a:xfrm>
                  <a:off x="8120868" y="3791065"/>
                  <a:ext cx="442106" cy="442107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rgbClr val="B2B2B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de-DE" sz="2353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9" name="Graphic 8" descr="City">
              <a:extLst>
                <a:ext uri="{FF2B5EF4-FFF2-40B4-BE49-F238E27FC236}">
                  <a16:creationId xmlns:a16="http://schemas.microsoft.com/office/drawing/2014/main" id="{108BB327-8CBC-4AB4-AD6E-743B34915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78329" y="5818852"/>
              <a:ext cx="442446" cy="442446"/>
            </a:xfrm>
            <a:prstGeom prst="rect">
              <a:avLst/>
            </a:prstGeom>
          </p:spPr>
        </p:pic>
        <p:pic>
          <p:nvPicPr>
            <p:cNvPr id="11" name="Graphic 10" descr="Signal">
              <a:extLst>
                <a:ext uri="{FF2B5EF4-FFF2-40B4-BE49-F238E27FC236}">
                  <a16:creationId xmlns:a16="http://schemas.microsoft.com/office/drawing/2014/main" id="{028FDD2E-FFED-4FFA-97CA-5ED1954C03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99668" y="5828398"/>
              <a:ext cx="403745" cy="403745"/>
            </a:xfrm>
            <a:prstGeom prst="rect">
              <a:avLst/>
            </a:prstGeom>
          </p:spPr>
        </p:pic>
        <p:pic>
          <p:nvPicPr>
            <p:cNvPr id="16" name="Graphic 15" descr="Gears">
              <a:extLst>
                <a:ext uri="{FF2B5EF4-FFF2-40B4-BE49-F238E27FC236}">
                  <a16:creationId xmlns:a16="http://schemas.microsoft.com/office/drawing/2014/main" id="{ECA12E73-30FE-4A88-A6A7-1923710CA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342020" y="5828811"/>
              <a:ext cx="414097" cy="414097"/>
            </a:xfrm>
            <a:prstGeom prst="rect">
              <a:avLst/>
            </a:prstGeom>
          </p:spPr>
        </p:pic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681FAABF-907D-4A11-8E6E-48ACE68B60E0}"/>
                </a:ext>
              </a:extLst>
            </p:cNvPr>
            <p:cNvCxnSpPr>
              <a:cxnSpLocks/>
            </p:cNvCxnSpPr>
            <p:nvPr/>
          </p:nvCxnSpPr>
          <p:spPr>
            <a:xfrm>
              <a:off x="9339858" y="4985407"/>
              <a:ext cx="0" cy="272639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prstDash val="sysDot"/>
              <a:headEnd type="none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3" name="Rectangle 3">
            <a:extLst>
              <a:ext uri="{FF2B5EF4-FFF2-40B4-BE49-F238E27FC236}">
                <a16:creationId xmlns:a16="http://schemas.microsoft.com/office/drawing/2014/main" id="{B25C2623-460D-4A61-8D90-42D1228FF9AB}"/>
              </a:ext>
            </a:extLst>
          </p:cNvPr>
          <p:cNvSpPr/>
          <p:nvPr/>
        </p:nvSpPr>
        <p:spPr bwMode="auto">
          <a:xfrm>
            <a:off x="6223084" y="5211038"/>
            <a:ext cx="5979278" cy="162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Rectangle 3">
            <a:extLst>
              <a:ext uri="{FF2B5EF4-FFF2-40B4-BE49-F238E27FC236}">
                <a16:creationId xmlns:a16="http://schemas.microsoft.com/office/drawing/2014/main" id="{48A99417-BF71-4FF7-90D3-226121170586}"/>
              </a:ext>
            </a:extLst>
          </p:cNvPr>
          <p:cNvSpPr/>
          <p:nvPr/>
        </p:nvSpPr>
        <p:spPr bwMode="auto">
          <a:xfrm>
            <a:off x="6217903" y="3000574"/>
            <a:ext cx="5979278" cy="2209078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2089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  <p:bldP spid="1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A00442-E04E-4403-97D8-D00492B0DB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7" y="2044"/>
          <a:ext cx="1557" cy="15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A00442-E04E-4403-97D8-D00492B0D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2044"/>
                        <a:ext cx="1557" cy="15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3963F410-41CC-4D11-82D4-36D8F30D9B23}"/>
              </a:ext>
            </a:extLst>
          </p:cNvPr>
          <p:cNvGrpSpPr/>
          <p:nvPr/>
        </p:nvGrpSpPr>
        <p:grpSpPr>
          <a:xfrm>
            <a:off x="2616908" y="3189658"/>
            <a:ext cx="6979305" cy="3031982"/>
            <a:chOff x="2669381" y="2605405"/>
            <a:chExt cx="7119255" cy="4389120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4006355-38FF-44C9-AA80-39E18662F5E2}"/>
                </a:ext>
              </a:extLst>
            </p:cNvPr>
            <p:cNvCxnSpPr>
              <a:cxnSpLocks/>
            </p:cNvCxnSpPr>
            <p:nvPr/>
          </p:nvCxnSpPr>
          <p:spPr>
            <a:xfrm>
              <a:off x="2669381" y="2605405"/>
              <a:ext cx="0" cy="438912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59587B5-A09A-4CFC-A717-06C625E79EE2}"/>
                </a:ext>
              </a:extLst>
            </p:cNvPr>
            <p:cNvCxnSpPr>
              <a:cxnSpLocks/>
            </p:cNvCxnSpPr>
            <p:nvPr/>
          </p:nvCxnSpPr>
          <p:spPr>
            <a:xfrm>
              <a:off x="5042466" y="2605405"/>
              <a:ext cx="0" cy="438912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047D13C7-DBA7-44D7-9F7B-DA169BCD4192}"/>
                </a:ext>
              </a:extLst>
            </p:cNvPr>
            <p:cNvCxnSpPr>
              <a:cxnSpLocks/>
            </p:cNvCxnSpPr>
            <p:nvPr/>
          </p:nvCxnSpPr>
          <p:spPr>
            <a:xfrm>
              <a:off x="7415551" y="2605405"/>
              <a:ext cx="0" cy="438912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7A36F3C-35D8-44AE-99CF-29107EB835A7}"/>
                </a:ext>
              </a:extLst>
            </p:cNvPr>
            <p:cNvCxnSpPr>
              <a:cxnSpLocks/>
            </p:cNvCxnSpPr>
            <p:nvPr/>
          </p:nvCxnSpPr>
          <p:spPr>
            <a:xfrm>
              <a:off x="9788636" y="2605405"/>
              <a:ext cx="0" cy="438912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356A448-B625-457B-B8E3-7EB67F99E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5" y="312651"/>
            <a:ext cx="11151917" cy="997196"/>
          </a:xfrm>
        </p:spPr>
        <p:txBody>
          <a:bodyPr/>
          <a:lstStyle/>
          <a:p>
            <a:r>
              <a:rPr lang="de-DE" dirty="0"/>
              <a:t>Voraussetzungen</a:t>
            </a:r>
            <a:r>
              <a:rPr lang="en-US" dirty="0"/>
              <a:t>
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F4E7B5-00AE-4A08-A35A-560DB82B7BBB}"/>
              </a:ext>
            </a:extLst>
          </p:cNvPr>
          <p:cNvSpPr/>
          <p:nvPr/>
        </p:nvSpPr>
        <p:spPr bwMode="auto">
          <a:xfrm>
            <a:off x="1" y="1682642"/>
            <a:ext cx="12191999" cy="1507015"/>
          </a:xfrm>
          <a:prstGeom prst="rect">
            <a:avLst/>
          </a:prstGeom>
          <a:solidFill>
            <a:srgbClr val="C00000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179285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3">
              <a:lnSpc>
                <a:spcPct val="90000"/>
              </a:lnSpc>
            </a:pPr>
            <a:r>
              <a:rPr lang="de-DE" sz="2353" dirty="0">
                <a:solidFill>
                  <a:srgbClr val="FFFFFF"/>
                </a:solidFill>
                <a:latin typeface="Segoe UI Semibold"/>
              </a:rPr>
              <a:t>Anforderunge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90107D-08B8-415F-8476-A0476FE38558}"/>
              </a:ext>
            </a:extLst>
          </p:cNvPr>
          <p:cNvSpPr/>
          <p:nvPr/>
        </p:nvSpPr>
        <p:spPr bwMode="auto">
          <a:xfrm>
            <a:off x="434207" y="4124235"/>
            <a:ext cx="2038965" cy="6089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ts val="588"/>
              </a:spcBef>
            </a:pPr>
            <a:r>
              <a:rPr lang="en-US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  <a:t>Azure </a:t>
            </a:r>
            <a:r>
              <a:rPr lang="de-DE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  <a:t>Subskrip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2B99D5-0354-4054-944F-D76D8518A06F}"/>
              </a:ext>
            </a:extLst>
          </p:cNvPr>
          <p:cNvSpPr/>
          <p:nvPr/>
        </p:nvSpPr>
        <p:spPr bwMode="auto">
          <a:xfrm>
            <a:off x="5087078" y="4124235"/>
            <a:ext cx="2038965" cy="9884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ts val="1961"/>
              </a:spcBef>
            </a:pPr>
            <a:r>
              <a:rPr lang="de-DE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Bestimmen Ihrer Identitätsstrategie </a:t>
            </a:r>
            <a:r>
              <a:rPr lang="en-US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(</a:t>
            </a:r>
            <a:r>
              <a:rPr lang="en-US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  <a:t>AD, ADDS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05D33E-3A1C-4CEF-91B4-AD1F213E23D3}"/>
              </a:ext>
            </a:extLst>
          </p:cNvPr>
          <p:cNvSpPr/>
          <p:nvPr/>
        </p:nvSpPr>
        <p:spPr bwMode="auto">
          <a:xfrm>
            <a:off x="7413513" y="4124235"/>
            <a:ext cx="2038965" cy="164984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ts val="1961"/>
              </a:spcBef>
            </a:pPr>
            <a:r>
              <a:rPr lang="de-DE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Alle zugehörigen Azure-Ressourcen (Image, virtuelles Netzwerk, Speicher) in einer Region
</a:t>
            </a:r>
            <a:endParaRPr lang="en-US" sz="1961" dirty="0">
              <a:solidFill>
                <a:schemeClr val="bg1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CD144F6-1E2C-4EB0-AF3E-2136D8BD3C10}"/>
              </a:ext>
            </a:extLst>
          </p:cNvPr>
          <p:cNvSpPr/>
          <p:nvPr/>
        </p:nvSpPr>
        <p:spPr bwMode="auto">
          <a:xfrm>
            <a:off x="9655695" y="4124235"/>
            <a:ext cx="2501560" cy="188076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ts val="1961"/>
              </a:spcBef>
            </a:pPr>
            <a:r>
              <a:rPr lang="de-DE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Benötigte</a:t>
            </a:r>
            <a:br>
              <a:rPr lang="de-DE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</a:br>
            <a:r>
              <a:rPr lang="de-DE" sz="1961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Anmelde-informationen</a:t>
            </a:r>
            <a:br>
              <a:rPr lang="en-US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</a:br>
            <a:r>
              <a:rPr lang="en-US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  <a:t> (Azure AD, WVD Tenant, Service principle, etc.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CF5421B-7B1D-4B90-B199-9D74E80AB6A4}"/>
              </a:ext>
            </a:extLst>
          </p:cNvPr>
          <p:cNvSpPr/>
          <p:nvPr/>
        </p:nvSpPr>
        <p:spPr bwMode="auto">
          <a:xfrm>
            <a:off x="2760644" y="4124235"/>
            <a:ext cx="2038965" cy="6089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ts val="1961"/>
              </a:spcBef>
            </a:pPr>
            <a:r>
              <a:rPr lang="en-US" sz="1961" dirty="0">
                <a:solidFill>
                  <a:schemeClr val="bg1"/>
                </a:solidFill>
                <a:latin typeface="Segoe UI"/>
                <a:ea typeface="Segoe UI" pitchFamily="34" charset="0"/>
                <a:cs typeface="Segoe UI" pitchFamily="34" charset="0"/>
              </a:rPr>
              <a:t>Azure Active Directory</a:t>
            </a:r>
          </a:p>
        </p:txBody>
      </p:sp>
      <p:sp>
        <p:nvSpPr>
          <p:cNvPr id="111" name="Hexagon 110">
            <a:extLst>
              <a:ext uri="{FF2B5EF4-FFF2-40B4-BE49-F238E27FC236}">
                <a16:creationId xmlns:a16="http://schemas.microsoft.com/office/drawing/2014/main" id="{4ACB1F11-499C-4CC6-83AB-081782AEBBD0}"/>
              </a:ext>
            </a:extLst>
          </p:cNvPr>
          <p:cNvSpPr/>
          <p:nvPr/>
        </p:nvSpPr>
        <p:spPr bwMode="auto">
          <a:xfrm>
            <a:off x="880398" y="2688246"/>
            <a:ext cx="1146583" cy="988432"/>
          </a:xfrm>
          <a:prstGeom prst="hexagon">
            <a:avLst/>
          </a:prstGeom>
          <a:solidFill>
            <a:schemeClr val="bg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B5CFD6EC-CA4F-439F-AD1F-178FE9469B7D}"/>
              </a:ext>
            </a:extLst>
          </p:cNvPr>
          <p:cNvSpPr/>
          <p:nvPr/>
        </p:nvSpPr>
        <p:spPr bwMode="auto">
          <a:xfrm>
            <a:off x="1006477" y="2796935"/>
            <a:ext cx="894425" cy="771053"/>
          </a:xfrm>
          <a:custGeom>
            <a:avLst/>
            <a:gdLst>
              <a:gd name="connsiteX0" fmla="*/ 473649 w 2197738"/>
              <a:gd name="connsiteY0" fmla="*/ 0 h 1894597"/>
              <a:gd name="connsiteX1" fmla="*/ 1724089 w 2197738"/>
              <a:gd name="connsiteY1" fmla="*/ 0 h 1894597"/>
              <a:gd name="connsiteX2" fmla="*/ 2197738 w 2197738"/>
              <a:gd name="connsiteY2" fmla="*/ 947299 h 1894597"/>
              <a:gd name="connsiteX3" fmla="*/ 1724089 w 2197738"/>
              <a:gd name="connsiteY3" fmla="*/ 1894597 h 1894597"/>
              <a:gd name="connsiteX4" fmla="*/ 473649 w 2197738"/>
              <a:gd name="connsiteY4" fmla="*/ 1894597 h 1894597"/>
              <a:gd name="connsiteX5" fmla="*/ 0 w 2197738"/>
              <a:gd name="connsiteY5" fmla="*/ 947299 h 189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7738" h="1894597">
                <a:moveTo>
                  <a:pt x="473649" y="0"/>
                </a:moveTo>
                <a:lnTo>
                  <a:pt x="1724089" y="0"/>
                </a:lnTo>
                <a:lnTo>
                  <a:pt x="2197738" y="947299"/>
                </a:lnTo>
                <a:lnTo>
                  <a:pt x="1724089" y="1894597"/>
                </a:lnTo>
                <a:lnTo>
                  <a:pt x="473649" y="1894597"/>
                </a:lnTo>
                <a:lnTo>
                  <a:pt x="0" y="947299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3" name="Hexagon 112">
            <a:extLst>
              <a:ext uri="{FF2B5EF4-FFF2-40B4-BE49-F238E27FC236}">
                <a16:creationId xmlns:a16="http://schemas.microsoft.com/office/drawing/2014/main" id="{C2E40A07-50F0-4A6B-BBBF-CC99919CD715}"/>
              </a:ext>
            </a:extLst>
          </p:cNvPr>
          <p:cNvSpPr/>
          <p:nvPr/>
        </p:nvSpPr>
        <p:spPr bwMode="auto">
          <a:xfrm>
            <a:off x="3206834" y="2688246"/>
            <a:ext cx="1146583" cy="988432"/>
          </a:xfrm>
          <a:prstGeom prst="hexagon">
            <a:avLst/>
          </a:prstGeom>
          <a:solidFill>
            <a:schemeClr val="bg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3E789179-7AB7-496B-9937-9B19DABB90B4}"/>
              </a:ext>
            </a:extLst>
          </p:cNvPr>
          <p:cNvSpPr/>
          <p:nvPr/>
        </p:nvSpPr>
        <p:spPr bwMode="auto">
          <a:xfrm>
            <a:off x="3332913" y="2796935"/>
            <a:ext cx="894425" cy="771053"/>
          </a:xfrm>
          <a:custGeom>
            <a:avLst/>
            <a:gdLst>
              <a:gd name="connsiteX0" fmla="*/ 473649 w 2197738"/>
              <a:gd name="connsiteY0" fmla="*/ 0 h 1894597"/>
              <a:gd name="connsiteX1" fmla="*/ 1724089 w 2197738"/>
              <a:gd name="connsiteY1" fmla="*/ 0 h 1894597"/>
              <a:gd name="connsiteX2" fmla="*/ 2197738 w 2197738"/>
              <a:gd name="connsiteY2" fmla="*/ 947299 h 1894597"/>
              <a:gd name="connsiteX3" fmla="*/ 1724089 w 2197738"/>
              <a:gd name="connsiteY3" fmla="*/ 1894597 h 1894597"/>
              <a:gd name="connsiteX4" fmla="*/ 473649 w 2197738"/>
              <a:gd name="connsiteY4" fmla="*/ 1894597 h 1894597"/>
              <a:gd name="connsiteX5" fmla="*/ 0 w 2197738"/>
              <a:gd name="connsiteY5" fmla="*/ 947299 h 189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7738" h="1894597">
                <a:moveTo>
                  <a:pt x="473649" y="0"/>
                </a:moveTo>
                <a:lnTo>
                  <a:pt x="1724089" y="0"/>
                </a:lnTo>
                <a:lnTo>
                  <a:pt x="2197738" y="947299"/>
                </a:lnTo>
                <a:lnTo>
                  <a:pt x="1724089" y="1894597"/>
                </a:lnTo>
                <a:lnTo>
                  <a:pt x="473649" y="1894597"/>
                </a:lnTo>
                <a:lnTo>
                  <a:pt x="0" y="947299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Hexagon 114">
            <a:extLst>
              <a:ext uri="{FF2B5EF4-FFF2-40B4-BE49-F238E27FC236}">
                <a16:creationId xmlns:a16="http://schemas.microsoft.com/office/drawing/2014/main" id="{9A24C929-5958-4291-8102-4A9BDCDC9080}"/>
              </a:ext>
            </a:extLst>
          </p:cNvPr>
          <p:cNvSpPr/>
          <p:nvPr/>
        </p:nvSpPr>
        <p:spPr bwMode="auto">
          <a:xfrm>
            <a:off x="5533270" y="2688246"/>
            <a:ext cx="1146583" cy="988432"/>
          </a:xfrm>
          <a:prstGeom prst="hexagon">
            <a:avLst/>
          </a:prstGeom>
          <a:solidFill>
            <a:schemeClr val="bg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7096CE53-CB00-4F21-B2F6-CB9B97B1A79F}"/>
              </a:ext>
            </a:extLst>
          </p:cNvPr>
          <p:cNvSpPr/>
          <p:nvPr/>
        </p:nvSpPr>
        <p:spPr bwMode="auto">
          <a:xfrm>
            <a:off x="5659349" y="2796935"/>
            <a:ext cx="894425" cy="771053"/>
          </a:xfrm>
          <a:custGeom>
            <a:avLst/>
            <a:gdLst>
              <a:gd name="connsiteX0" fmla="*/ 473649 w 2197738"/>
              <a:gd name="connsiteY0" fmla="*/ 0 h 1894597"/>
              <a:gd name="connsiteX1" fmla="*/ 1724089 w 2197738"/>
              <a:gd name="connsiteY1" fmla="*/ 0 h 1894597"/>
              <a:gd name="connsiteX2" fmla="*/ 2197738 w 2197738"/>
              <a:gd name="connsiteY2" fmla="*/ 947299 h 1894597"/>
              <a:gd name="connsiteX3" fmla="*/ 1724089 w 2197738"/>
              <a:gd name="connsiteY3" fmla="*/ 1894597 h 1894597"/>
              <a:gd name="connsiteX4" fmla="*/ 473649 w 2197738"/>
              <a:gd name="connsiteY4" fmla="*/ 1894597 h 1894597"/>
              <a:gd name="connsiteX5" fmla="*/ 0 w 2197738"/>
              <a:gd name="connsiteY5" fmla="*/ 947299 h 189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7738" h="1894597">
                <a:moveTo>
                  <a:pt x="473649" y="0"/>
                </a:moveTo>
                <a:lnTo>
                  <a:pt x="1724089" y="0"/>
                </a:lnTo>
                <a:lnTo>
                  <a:pt x="2197738" y="947299"/>
                </a:lnTo>
                <a:lnTo>
                  <a:pt x="1724089" y="1894597"/>
                </a:lnTo>
                <a:lnTo>
                  <a:pt x="473649" y="1894597"/>
                </a:lnTo>
                <a:lnTo>
                  <a:pt x="0" y="947299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7" name="Hexagon 116">
            <a:extLst>
              <a:ext uri="{FF2B5EF4-FFF2-40B4-BE49-F238E27FC236}">
                <a16:creationId xmlns:a16="http://schemas.microsoft.com/office/drawing/2014/main" id="{C3B6C1D8-D3B2-408A-A642-19FBFD2B7919}"/>
              </a:ext>
            </a:extLst>
          </p:cNvPr>
          <p:cNvSpPr/>
          <p:nvPr/>
        </p:nvSpPr>
        <p:spPr bwMode="auto">
          <a:xfrm>
            <a:off x="7859706" y="2688246"/>
            <a:ext cx="1146583" cy="988432"/>
          </a:xfrm>
          <a:prstGeom prst="hexagon">
            <a:avLst/>
          </a:prstGeom>
          <a:solidFill>
            <a:schemeClr val="bg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8F9056BA-D99E-4FEB-9F2C-DA63A85F732B}"/>
              </a:ext>
            </a:extLst>
          </p:cNvPr>
          <p:cNvSpPr/>
          <p:nvPr/>
        </p:nvSpPr>
        <p:spPr bwMode="auto">
          <a:xfrm>
            <a:off x="7985785" y="2796935"/>
            <a:ext cx="894425" cy="771053"/>
          </a:xfrm>
          <a:custGeom>
            <a:avLst/>
            <a:gdLst>
              <a:gd name="connsiteX0" fmla="*/ 473649 w 2197738"/>
              <a:gd name="connsiteY0" fmla="*/ 0 h 1894597"/>
              <a:gd name="connsiteX1" fmla="*/ 1724089 w 2197738"/>
              <a:gd name="connsiteY1" fmla="*/ 0 h 1894597"/>
              <a:gd name="connsiteX2" fmla="*/ 2197738 w 2197738"/>
              <a:gd name="connsiteY2" fmla="*/ 947299 h 1894597"/>
              <a:gd name="connsiteX3" fmla="*/ 1724089 w 2197738"/>
              <a:gd name="connsiteY3" fmla="*/ 1894597 h 1894597"/>
              <a:gd name="connsiteX4" fmla="*/ 473649 w 2197738"/>
              <a:gd name="connsiteY4" fmla="*/ 1894597 h 1894597"/>
              <a:gd name="connsiteX5" fmla="*/ 0 w 2197738"/>
              <a:gd name="connsiteY5" fmla="*/ 947299 h 189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7738" h="1894597">
                <a:moveTo>
                  <a:pt x="473649" y="0"/>
                </a:moveTo>
                <a:lnTo>
                  <a:pt x="1724089" y="0"/>
                </a:lnTo>
                <a:lnTo>
                  <a:pt x="2197738" y="947299"/>
                </a:lnTo>
                <a:lnTo>
                  <a:pt x="1724089" y="1894597"/>
                </a:lnTo>
                <a:lnTo>
                  <a:pt x="473649" y="1894597"/>
                </a:lnTo>
                <a:lnTo>
                  <a:pt x="0" y="947299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Hexagon 118">
            <a:extLst>
              <a:ext uri="{FF2B5EF4-FFF2-40B4-BE49-F238E27FC236}">
                <a16:creationId xmlns:a16="http://schemas.microsoft.com/office/drawing/2014/main" id="{5024F71C-77E4-4A4F-9C5E-075743B62043}"/>
              </a:ext>
            </a:extLst>
          </p:cNvPr>
          <p:cNvSpPr/>
          <p:nvPr/>
        </p:nvSpPr>
        <p:spPr bwMode="auto">
          <a:xfrm>
            <a:off x="10186141" y="2688246"/>
            <a:ext cx="1146583" cy="988432"/>
          </a:xfrm>
          <a:prstGeom prst="hexagon">
            <a:avLst/>
          </a:prstGeom>
          <a:solidFill>
            <a:schemeClr val="bg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33015E68-9041-41C2-A41F-3F1EAC3D4BB9}"/>
              </a:ext>
            </a:extLst>
          </p:cNvPr>
          <p:cNvSpPr/>
          <p:nvPr/>
        </p:nvSpPr>
        <p:spPr bwMode="auto">
          <a:xfrm>
            <a:off x="10312220" y="2796935"/>
            <a:ext cx="894425" cy="771053"/>
          </a:xfrm>
          <a:custGeom>
            <a:avLst/>
            <a:gdLst>
              <a:gd name="connsiteX0" fmla="*/ 473649 w 2197738"/>
              <a:gd name="connsiteY0" fmla="*/ 0 h 1894597"/>
              <a:gd name="connsiteX1" fmla="*/ 1724089 w 2197738"/>
              <a:gd name="connsiteY1" fmla="*/ 0 h 1894597"/>
              <a:gd name="connsiteX2" fmla="*/ 2197738 w 2197738"/>
              <a:gd name="connsiteY2" fmla="*/ 947299 h 1894597"/>
              <a:gd name="connsiteX3" fmla="*/ 1724089 w 2197738"/>
              <a:gd name="connsiteY3" fmla="*/ 1894597 h 1894597"/>
              <a:gd name="connsiteX4" fmla="*/ 473649 w 2197738"/>
              <a:gd name="connsiteY4" fmla="*/ 1894597 h 1894597"/>
              <a:gd name="connsiteX5" fmla="*/ 0 w 2197738"/>
              <a:gd name="connsiteY5" fmla="*/ 947299 h 189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7738" h="1894597">
                <a:moveTo>
                  <a:pt x="473649" y="0"/>
                </a:moveTo>
                <a:lnTo>
                  <a:pt x="1724089" y="0"/>
                </a:lnTo>
                <a:lnTo>
                  <a:pt x="2197738" y="947299"/>
                </a:lnTo>
                <a:lnTo>
                  <a:pt x="1724089" y="1894597"/>
                </a:lnTo>
                <a:lnTo>
                  <a:pt x="473649" y="1894597"/>
                </a:lnTo>
                <a:lnTo>
                  <a:pt x="0" y="947299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25400" dist="38100" dir="2700000" sx="98000" sy="98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1" name="Touchscreen" title="Icon of a closed hand with one finger touching a screen">
            <a:extLst>
              <a:ext uri="{FF2B5EF4-FFF2-40B4-BE49-F238E27FC236}">
                <a16:creationId xmlns:a16="http://schemas.microsoft.com/office/drawing/2014/main" id="{C3731EC5-5285-41BB-93CE-B7F4E909A4F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01681" y="2946180"/>
            <a:ext cx="504017" cy="472564"/>
          </a:xfrm>
          <a:custGeom>
            <a:avLst/>
            <a:gdLst>
              <a:gd name="T0" fmla="*/ 1917 w 3772"/>
              <a:gd name="T1" fmla="*/ 1791 h 3535"/>
              <a:gd name="T2" fmla="*/ 1917 w 3772"/>
              <a:gd name="T3" fmla="*/ 1985 h 3535"/>
              <a:gd name="T4" fmla="*/ 1917 w 3772"/>
              <a:gd name="T5" fmla="*/ 1123 h 3535"/>
              <a:gd name="T6" fmla="*/ 1745 w 3772"/>
              <a:gd name="T7" fmla="*/ 951 h 3535"/>
              <a:gd name="T8" fmla="*/ 1573 w 3772"/>
              <a:gd name="T9" fmla="*/ 1123 h 3535"/>
              <a:gd name="T10" fmla="*/ 1573 w 3772"/>
              <a:gd name="T11" fmla="*/ 1135 h 3535"/>
              <a:gd name="T12" fmla="*/ 1573 w 3772"/>
              <a:gd name="T13" fmla="*/ 2527 h 3535"/>
              <a:gd name="T14" fmla="*/ 1469 w 3772"/>
              <a:gd name="T15" fmla="*/ 2569 h 3535"/>
              <a:gd name="T16" fmla="*/ 1282 w 3772"/>
              <a:gd name="T17" fmla="*/ 2383 h 3535"/>
              <a:gd name="T18" fmla="*/ 1023 w 3772"/>
              <a:gd name="T19" fmla="*/ 2383 h 3535"/>
              <a:gd name="T20" fmla="*/ 1023 w 3772"/>
              <a:gd name="T21" fmla="*/ 2641 h 3535"/>
              <a:gd name="T22" fmla="*/ 1659 w 3772"/>
              <a:gd name="T23" fmla="*/ 3277 h 3535"/>
              <a:gd name="T24" fmla="*/ 2262 w 3772"/>
              <a:gd name="T25" fmla="*/ 3535 h 3535"/>
              <a:gd name="T26" fmla="*/ 2951 w 3772"/>
              <a:gd name="T27" fmla="*/ 2846 h 3535"/>
              <a:gd name="T28" fmla="*/ 2951 w 3772"/>
              <a:gd name="T29" fmla="*/ 2184 h 3535"/>
              <a:gd name="T30" fmla="*/ 2820 w 3772"/>
              <a:gd name="T31" fmla="*/ 2017 h 3535"/>
              <a:gd name="T32" fmla="*/ 1917 w 3772"/>
              <a:gd name="T33" fmla="*/ 1791 h 3535"/>
              <a:gd name="T34" fmla="*/ 1917 w 3772"/>
              <a:gd name="T35" fmla="*/ 1123 h 3535"/>
              <a:gd name="T36" fmla="*/ 1917 w 3772"/>
              <a:gd name="T37" fmla="*/ 1602 h 3535"/>
              <a:gd name="T38" fmla="*/ 2254 w 3772"/>
              <a:gd name="T39" fmla="*/ 1123 h 3535"/>
              <a:gd name="T40" fmla="*/ 1744 w 3772"/>
              <a:gd name="T41" fmla="*/ 614 h 3535"/>
              <a:gd name="T42" fmla="*/ 1235 w 3772"/>
              <a:gd name="T43" fmla="*/ 1123 h 3535"/>
              <a:gd name="T44" fmla="*/ 1573 w 3772"/>
              <a:gd name="T45" fmla="*/ 1603 h 3535"/>
              <a:gd name="T46" fmla="*/ 2951 w 3772"/>
              <a:gd name="T47" fmla="*/ 2672 h 3535"/>
              <a:gd name="T48" fmla="*/ 3657 w 3772"/>
              <a:gd name="T49" fmla="*/ 2672 h 3535"/>
              <a:gd name="T50" fmla="*/ 3772 w 3772"/>
              <a:gd name="T51" fmla="*/ 2557 h 3535"/>
              <a:gd name="T52" fmla="*/ 3772 w 3772"/>
              <a:gd name="T53" fmla="*/ 115 h 3535"/>
              <a:gd name="T54" fmla="*/ 3657 w 3772"/>
              <a:gd name="T55" fmla="*/ 0 h 3535"/>
              <a:gd name="T56" fmla="*/ 115 w 3772"/>
              <a:gd name="T57" fmla="*/ 0 h 3535"/>
              <a:gd name="T58" fmla="*/ 0 w 3772"/>
              <a:gd name="T59" fmla="*/ 115 h 3535"/>
              <a:gd name="T60" fmla="*/ 0 w 3772"/>
              <a:gd name="T61" fmla="*/ 2557 h 3535"/>
              <a:gd name="T62" fmla="*/ 115 w 3772"/>
              <a:gd name="T63" fmla="*/ 2672 h 3535"/>
              <a:gd name="T64" fmla="*/ 1054 w 3772"/>
              <a:gd name="T65" fmla="*/ 2672 h 3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2" h="3535">
                <a:moveTo>
                  <a:pt x="1917" y="1791"/>
                </a:moveTo>
                <a:cubicBezTo>
                  <a:pt x="1917" y="1985"/>
                  <a:pt x="1917" y="1985"/>
                  <a:pt x="1917" y="1985"/>
                </a:cubicBezTo>
                <a:moveTo>
                  <a:pt x="1917" y="1123"/>
                </a:moveTo>
                <a:cubicBezTo>
                  <a:pt x="1917" y="1028"/>
                  <a:pt x="1840" y="951"/>
                  <a:pt x="1745" y="951"/>
                </a:cubicBezTo>
                <a:cubicBezTo>
                  <a:pt x="1650" y="951"/>
                  <a:pt x="1573" y="1028"/>
                  <a:pt x="1573" y="1123"/>
                </a:cubicBezTo>
                <a:cubicBezTo>
                  <a:pt x="1573" y="1123"/>
                  <a:pt x="1573" y="1127"/>
                  <a:pt x="1573" y="1135"/>
                </a:cubicBezTo>
                <a:cubicBezTo>
                  <a:pt x="1573" y="1252"/>
                  <a:pt x="1573" y="2194"/>
                  <a:pt x="1573" y="2527"/>
                </a:cubicBezTo>
                <a:cubicBezTo>
                  <a:pt x="1573" y="2581"/>
                  <a:pt x="1507" y="2608"/>
                  <a:pt x="1469" y="2569"/>
                </a:cubicBezTo>
                <a:cubicBezTo>
                  <a:pt x="1282" y="2383"/>
                  <a:pt x="1282" y="2383"/>
                  <a:pt x="1282" y="2383"/>
                </a:cubicBezTo>
                <a:cubicBezTo>
                  <a:pt x="1210" y="2311"/>
                  <a:pt x="1095" y="2311"/>
                  <a:pt x="1023" y="2383"/>
                </a:cubicBezTo>
                <a:cubicBezTo>
                  <a:pt x="952" y="2454"/>
                  <a:pt x="952" y="2570"/>
                  <a:pt x="1023" y="2641"/>
                </a:cubicBezTo>
                <a:cubicBezTo>
                  <a:pt x="1659" y="3277"/>
                  <a:pt x="1659" y="3277"/>
                  <a:pt x="1659" y="3277"/>
                </a:cubicBezTo>
                <a:cubicBezTo>
                  <a:pt x="1813" y="3436"/>
                  <a:pt x="2026" y="3535"/>
                  <a:pt x="2262" y="3535"/>
                </a:cubicBezTo>
                <a:cubicBezTo>
                  <a:pt x="2643" y="3535"/>
                  <a:pt x="2951" y="3227"/>
                  <a:pt x="2951" y="2846"/>
                </a:cubicBezTo>
                <a:cubicBezTo>
                  <a:pt x="2951" y="2184"/>
                  <a:pt x="2951" y="2184"/>
                  <a:pt x="2951" y="2184"/>
                </a:cubicBezTo>
                <a:cubicBezTo>
                  <a:pt x="2951" y="2105"/>
                  <a:pt x="2897" y="2036"/>
                  <a:pt x="2820" y="2017"/>
                </a:cubicBezTo>
                <a:cubicBezTo>
                  <a:pt x="1917" y="1791"/>
                  <a:pt x="1917" y="1791"/>
                  <a:pt x="1917" y="1791"/>
                </a:cubicBezTo>
                <a:lnTo>
                  <a:pt x="1917" y="1123"/>
                </a:lnTo>
                <a:close/>
                <a:moveTo>
                  <a:pt x="1917" y="1602"/>
                </a:moveTo>
                <a:cubicBezTo>
                  <a:pt x="2114" y="1532"/>
                  <a:pt x="2254" y="1344"/>
                  <a:pt x="2254" y="1123"/>
                </a:cubicBezTo>
                <a:cubicBezTo>
                  <a:pt x="2254" y="842"/>
                  <a:pt x="2026" y="614"/>
                  <a:pt x="1744" y="614"/>
                </a:cubicBezTo>
                <a:cubicBezTo>
                  <a:pt x="1463" y="614"/>
                  <a:pt x="1235" y="842"/>
                  <a:pt x="1235" y="1123"/>
                </a:cubicBezTo>
                <a:cubicBezTo>
                  <a:pt x="1235" y="1344"/>
                  <a:pt x="1376" y="1532"/>
                  <a:pt x="1573" y="1603"/>
                </a:cubicBezTo>
                <a:moveTo>
                  <a:pt x="2951" y="2672"/>
                </a:moveTo>
                <a:cubicBezTo>
                  <a:pt x="3657" y="2672"/>
                  <a:pt x="3657" y="2672"/>
                  <a:pt x="3657" y="2672"/>
                </a:cubicBezTo>
                <a:cubicBezTo>
                  <a:pt x="3720" y="2672"/>
                  <a:pt x="3772" y="2621"/>
                  <a:pt x="3772" y="2557"/>
                </a:cubicBezTo>
                <a:cubicBezTo>
                  <a:pt x="3772" y="115"/>
                  <a:pt x="3772" y="115"/>
                  <a:pt x="3772" y="115"/>
                </a:cubicBezTo>
                <a:cubicBezTo>
                  <a:pt x="3772" y="51"/>
                  <a:pt x="3720" y="0"/>
                  <a:pt x="3657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51" y="0"/>
                  <a:pt x="0" y="51"/>
                  <a:pt x="0" y="115"/>
                </a:cubicBezTo>
                <a:cubicBezTo>
                  <a:pt x="0" y="2557"/>
                  <a:pt x="0" y="2557"/>
                  <a:pt x="0" y="2557"/>
                </a:cubicBezTo>
                <a:cubicBezTo>
                  <a:pt x="0" y="2621"/>
                  <a:pt x="51" y="2672"/>
                  <a:pt x="115" y="2672"/>
                </a:cubicBezTo>
                <a:cubicBezTo>
                  <a:pt x="1054" y="2672"/>
                  <a:pt x="1054" y="2672"/>
                  <a:pt x="1054" y="2672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14"/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2736C29-9DB4-409E-8665-C06C684BC2FF}"/>
              </a:ext>
            </a:extLst>
          </p:cNvPr>
          <p:cNvGrpSpPr/>
          <p:nvPr/>
        </p:nvGrpSpPr>
        <p:grpSpPr>
          <a:xfrm>
            <a:off x="3484048" y="2889568"/>
            <a:ext cx="579579" cy="523868"/>
            <a:chOff x="5788180" y="3149755"/>
            <a:chExt cx="614363" cy="555308"/>
          </a:xfrm>
        </p:grpSpPr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4EE5CE8-A257-4E8E-8506-26220F96E9AF}"/>
                </a:ext>
              </a:extLst>
            </p:cNvPr>
            <p:cNvSpPr/>
            <p:nvPr/>
          </p:nvSpPr>
          <p:spPr>
            <a:xfrm>
              <a:off x="6013923" y="3149755"/>
              <a:ext cx="161925" cy="161925"/>
            </a:xfrm>
            <a:custGeom>
              <a:avLst/>
              <a:gdLst>
                <a:gd name="connsiteX0" fmla="*/ 151610 w 161925"/>
                <a:gd name="connsiteY0" fmla="*/ 81125 h 161925"/>
                <a:gd name="connsiteX1" fmla="*/ 81125 w 161925"/>
                <a:gd name="connsiteY1" fmla="*/ 151610 h 161925"/>
                <a:gd name="connsiteX2" fmla="*/ 10640 w 161925"/>
                <a:gd name="connsiteY2" fmla="*/ 81125 h 161925"/>
                <a:gd name="connsiteX3" fmla="*/ 81125 w 161925"/>
                <a:gd name="connsiteY3" fmla="*/ 10640 h 161925"/>
                <a:gd name="connsiteX4" fmla="*/ 151610 w 161925"/>
                <a:gd name="connsiteY4" fmla="*/ 811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151610" y="81125"/>
                  </a:moveTo>
                  <a:cubicBezTo>
                    <a:pt x="151610" y="120053"/>
                    <a:pt x="120053" y="151610"/>
                    <a:pt x="81125" y="151610"/>
                  </a:cubicBezTo>
                  <a:cubicBezTo>
                    <a:pt x="42197" y="151610"/>
                    <a:pt x="10640" y="120053"/>
                    <a:pt x="10640" y="81125"/>
                  </a:cubicBezTo>
                  <a:cubicBezTo>
                    <a:pt x="10640" y="42197"/>
                    <a:pt x="42197" y="10640"/>
                    <a:pt x="81125" y="10640"/>
                  </a:cubicBezTo>
                  <a:cubicBezTo>
                    <a:pt x="120053" y="10640"/>
                    <a:pt x="151610" y="42197"/>
                    <a:pt x="151610" y="8112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11EFC5C-2B86-4737-93B9-AD704E41B363}"/>
                </a:ext>
              </a:extLst>
            </p:cNvPr>
            <p:cNvSpPr/>
            <p:nvPr/>
          </p:nvSpPr>
          <p:spPr>
            <a:xfrm>
              <a:off x="6013923" y="3543138"/>
              <a:ext cx="161925" cy="161925"/>
            </a:xfrm>
            <a:custGeom>
              <a:avLst/>
              <a:gdLst>
                <a:gd name="connsiteX0" fmla="*/ 151610 w 161925"/>
                <a:gd name="connsiteY0" fmla="*/ 81125 h 161925"/>
                <a:gd name="connsiteX1" fmla="*/ 81125 w 161925"/>
                <a:gd name="connsiteY1" fmla="*/ 151610 h 161925"/>
                <a:gd name="connsiteX2" fmla="*/ 10640 w 161925"/>
                <a:gd name="connsiteY2" fmla="*/ 81125 h 161925"/>
                <a:gd name="connsiteX3" fmla="*/ 81125 w 161925"/>
                <a:gd name="connsiteY3" fmla="*/ 10640 h 161925"/>
                <a:gd name="connsiteX4" fmla="*/ 151610 w 161925"/>
                <a:gd name="connsiteY4" fmla="*/ 811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151610" y="81125"/>
                  </a:moveTo>
                  <a:cubicBezTo>
                    <a:pt x="151610" y="120053"/>
                    <a:pt x="120053" y="151610"/>
                    <a:pt x="81125" y="151610"/>
                  </a:cubicBezTo>
                  <a:cubicBezTo>
                    <a:pt x="42197" y="151610"/>
                    <a:pt x="10640" y="120053"/>
                    <a:pt x="10640" y="81125"/>
                  </a:cubicBezTo>
                  <a:cubicBezTo>
                    <a:pt x="10640" y="42197"/>
                    <a:pt x="42197" y="10640"/>
                    <a:pt x="81125" y="10640"/>
                  </a:cubicBezTo>
                  <a:cubicBezTo>
                    <a:pt x="120053" y="10640"/>
                    <a:pt x="151610" y="42197"/>
                    <a:pt x="151610" y="8112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DCE3381-6041-48FB-992F-CE324460B8D4}"/>
                </a:ext>
              </a:extLst>
            </p:cNvPr>
            <p:cNvSpPr/>
            <p:nvPr/>
          </p:nvSpPr>
          <p:spPr>
            <a:xfrm>
              <a:off x="6240618" y="3379308"/>
              <a:ext cx="161925" cy="161925"/>
            </a:xfrm>
            <a:custGeom>
              <a:avLst/>
              <a:gdLst>
                <a:gd name="connsiteX0" fmla="*/ 151610 w 161925"/>
                <a:gd name="connsiteY0" fmla="*/ 81125 h 161925"/>
                <a:gd name="connsiteX1" fmla="*/ 81125 w 161925"/>
                <a:gd name="connsiteY1" fmla="*/ 151610 h 161925"/>
                <a:gd name="connsiteX2" fmla="*/ 10640 w 161925"/>
                <a:gd name="connsiteY2" fmla="*/ 81125 h 161925"/>
                <a:gd name="connsiteX3" fmla="*/ 81125 w 161925"/>
                <a:gd name="connsiteY3" fmla="*/ 10640 h 161925"/>
                <a:gd name="connsiteX4" fmla="*/ 151610 w 161925"/>
                <a:gd name="connsiteY4" fmla="*/ 811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151610" y="81125"/>
                  </a:moveTo>
                  <a:cubicBezTo>
                    <a:pt x="151610" y="120053"/>
                    <a:pt x="120053" y="151610"/>
                    <a:pt x="81125" y="151610"/>
                  </a:cubicBezTo>
                  <a:cubicBezTo>
                    <a:pt x="42197" y="151610"/>
                    <a:pt x="10640" y="120053"/>
                    <a:pt x="10640" y="81125"/>
                  </a:cubicBezTo>
                  <a:cubicBezTo>
                    <a:pt x="10640" y="42197"/>
                    <a:pt x="42197" y="10640"/>
                    <a:pt x="81125" y="10640"/>
                  </a:cubicBezTo>
                  <a:cubicBezTo>
                    <a:pt x="120053" y="10640"/>
                    <a:pt x="151610" y="42197"/>
                    <a:pt x="151610" y="8112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E722A64-3DDD-4744-A923-6AD5096D3871}"/>
                </a:ext>
              </a:extLst>
            </p:cNvPr>
            <p:cNvSpPr/>
            <p:nvPr/>
          </p:nvSpPr>
          <p:spPr>
            <a:xfrm>
              <a:off x="5788180" y="3379308"/>
              <a:ext cx="161925" cy="161925"/>
            </a:xfrm>
            <a:custGeom>
              <a:avLst/>
              <a:gdLst>
                <a:gd name="connsiteX0" fmla="*/ 151610 w 161925"/>
                <a:gd name="connsiteY0" fmla="*/ 81125 h 161925"/>
                <a:gd name="connsiteX1" fmla="*/ 81125 w 161925"/>
                <a:gd name="connsiteY1" fmla="*/ 151610 h 161925"/>
                <a:gd name="connsiteX2" fmla="*/ 10640 w 161925"/>
                <a:gd name="connsiteY2" fmla="*/ 81125 h 161925"/>
                <a:gd name="connsiteX3" fmla="*/ 81125 w 161925"/>
                <a:gd name="connsiteY3" fmla="*/ 10640 h 161925"/>
                <a:gd name="connsiteX4" fmla="*/ 151610 w 161925"/>
                <a:gd name="connsiteY4" fmla="*/ 811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151610" y="81125"/>
                  </a:moveTo>
                  <a:cubicBezTo>
                    <a:pt x="151610" y="120053"/>
                    <a:pt x="120053" y="151610"/>
                    <a:pt x="81125" y="151610"/>
                  </a:cubicBezTo>
                  <a:cubicBezTo>
                    <a:pt x="42197" y="151610"/>
                    <a:pt x="10640" y="120053"/>
                    <a:pt x="10640" y="81125"/>
                  </a:cubicBezTo>
                  <a:cubicBezTo>
                    <a:pt x="10640" y="42197"/>
                    <a:pt x="42197" y="10640"/>
                    <a:pt x="81125" y="10640"/>
                  </a:cubicBezTo>
                  <a:cubicBezTo>
                    <a:pt x="120053" y="10640"/>
                    <a:pt x="151610" y="42197"/>
                    <a:pt x="151610" y="8112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6D9D6A54-F51F-4B5B-8EA2-98A0B522975D}"/>
                </a:ext>
              </a:extLst>
            </p:cNvPr>
            <p:cNvSpPr/>
            <p:nvPr/>
          </p:nvSpPr>
          <p:spPr>
            <a:xfrm>
              <a:off x="6134890" y="3273580"/>
              <a:ext cx="142875" cy="142875"/>
            </a:xfrm>
            <a:custGeom>
              <a:avLst/>
              <a:gdLst>
                <a:gd name="connsiteX0" fmla="*/ 10640 w 142875"/>
                <a:gd name="connsiteY0" fmla="*/ 10640 h 142875"/>
                <a:gd name="connsiteX1" fmla="*/ 133512 w 142875"/>
                <a:gd name="connsiteY1" fmla="*/ 1401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875" h="142875">
                  <a:moveTo>
                    <a:pt x="10640" y="10640"/>
                  </a:moveTo>
                  <a:lnTo>
                    <a:pt x="133512" y="14018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E8F3FF4-E644-4131-8BD1-5E64356A402B}"/>
                </a:ext>
              </a:extLst>
            </p:cNvPr>
            <p:cNvSpPr/>
            <p:nvPr/>
          </p:nvSpPr>
          <p:spPr>
            <a:xfrm>
              <a:off x="5910100" y="3273580"/>
              <a:ext cx="142875" cy="142875"/>
            </a:xfrm>
            <a:custGeom>
              <a:avLst/>
              <a:gdLst>
                <a:gd name="connsiteX0" fmla="*/ 132560 w 142875"/>
                <a:gd name="connsiteY0" fmla="*/ 10640 h 142875"/>
                <a:gd name="connsiteX1" fmla="*/ 10640 w 142875"/>
                <a:gd name="connsiteY1" fmla="*/ 14018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875" h="142875">
                  <a:moveTo>
                    <a:pt x="132560" y="10640"/>
                  </a:moveTo>
                  <a:lnTo>
                    <a:pt x="10640" y="14018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2853DD3B-412E-41A5-8626-452F2B6C6F1F}"/>
                </a:ext>
              </a:extLst>
            </p:cNvPr>
            <p:cNvSpPr/>
            <p:nvPr/>
          </p:nvSpPr>
          <p:spPr>
            <a:xfrm>
              <a:off x="6138700" y="3475510"/>
              <a:ext cx="123825" cy="95250"/>
            </a:xfrm>
            <a:custGeom>
              <a:avLst/>
              <a:gdLst>
                <a:gd name="connsiteX0" fmla="*/ 10640 w 123825"/>
                <a:gd name="connsiteY0" fmla="*/ 93507 h 95250"/>
                <a:gd name="connsiteX1" fmla="*/ 119225 w 123825"/>
                <a:gd name="connsiteY1" fmla="*/ 1064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 h="95250">
                  <a:moveTo>
                    <a:pt x="10640" y="93507"/>
                  </a:moveTo>
                  <a:lnTo>
                    <a:pt x="119225" y="1064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440FB1E-ECCD-489E-9566-2BAA5032826F}"/>
                </a:ext>
              </a:extLst>
            </p:cNvPr>
            <p:cNvSpPr/>
            <p:nvPr/>
          </p:nvSpPr>
          <p:spPr>
            <a:xfrm>
              <a:off x="5929150" y="3475510"/>
              <a:ext cx="123825" cy="95250"/>
            </a:xfrm>
            <a:custGeom>
              <a:avLst/>
              <a:gdLst>
                <a:gd name="connsiteX0" fmla="*/ 10640 w 123825"/>
                <a:gd name="connsiteY0" fmla="*/ 10640 h 95250"/>
                <a:gd name="connsiteX1" fmla="*/ 119225 w 123825"/>
                <a:gd name="connsiteY1" fmla="*/ 9350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 h="95250">
                  <a:moveTo>
                    <a:pt x="10640" y="10640"/>
                  </a:moveTo>
                  <a:lnTo>
                    <a:pt x="119225" y="93507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43200AF-617F-4657-8411-1E995619B5F4}"/>
                </a:ext>
              </a:extLst>
            </p:cNvPr>
            <p:cNvSpPr/>
            <p:nvPr/>
          </p:nvSpPr>
          <p:spPr>
            <a:xfrm>
              <a:off x="6084408" y="3290725"/>
              <a:ext cx="19050" cy="266700"/>
            </a:xfrm>
            <a:custGeom>
              <a:avLst/>
              <a:gdLst>
                <a:gd name="connsiteX0" fmla="*/ 10640 w 19050"/>
                <a:gd name="connsiteY0" fmla="*/ 10640 h 266700"/>
                <a:gd name="connsiteX1" fmla="*/ 10640 w 19050"/>
                <a:gd name="connsiteY1" fmla="*/ 2621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266700">
                  <a:moveTo>
                    <a:pt x="10640" y="10640"/>
                  </a:moveTo>
                  <a:lnTo>
                    <a:pt x="10640" y="262100"/>
                  </a:lnTo>
                </a:path>
              </a:pathLst>
            </a:custGeom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14"/>
              <a:endParaRPr lang="en-US" sz="1800">
                <a:solidFill>
                  <a:srgbClr val="282828"/>
                </a:solidFill>
                <a:latin typeface="Segoe UI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38B2C44-C373-4666-BCA6-B7B8A731453B}"/>
              </a:ext>
            </a:extLst>
          </p:cNvPr>
          <p:cNvGrpSpPr/>
          <p:nvPr/>
        </p:nvGrpSpPr>
        <p:grpSpPr>
          <a:xfrm>
            <a:off x="5921056" y="2939185"/>
            <a:ext cx="405983" cy="413578"/>
            <a:chOff x="5608908" y="3347038"/>
            <a:chExt cx="305753" cy="311468"/>
          </a:xfrm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ED70522-0592-40AF-A43F-FE5B5A9F789F}"/>
                </a:ext>
              </a:extLst>
            </p:cNvPr>
            <p:cNvSpPr/>
            <p:nvPr/>
          </p:nvSpPr>
          <p:spPr>
            <a:xfrm>
              <a:off x="5747021" y="3347038"/>
              <a:ext cx="9525" cy="47625"/>
            </a:xfrm>
            <a:custGeom>
              <a:avLst/>
              <a:gdLst>
                <a:gd name="connsiteX0" fmla="*/ 7348 w 9525"/>
                <a:gd name="connsiteY0" fmla="*/ 7348 h 47625"/>
                <a:gd name="connsiteX1" fmla="*/ 7348 w 9525"/>
                <a:gd name="connsiteY1" fmla="*/ 4925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7625">
                  <a:moveTo>
                    <a:pt x="7348" y="7348"/>
                  </a:moveTo>
                  <a:lnTo>
                    <a:pt x="7348" y="4925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F8B6080-B5F7-4A9E-A681-91E455729E2E}"/>
                </a:ext>
              </a:extLst>
            </p:cNvPr>
            <p:cNvSpPr/>
            <p:nvPr/>
          </p:nvSpPr>
          <p:spPr>
            <a:xfrm>
              <a:off x="5646056" y="3394663"/>
              <a:ext cx="38100" cy="38100"/>
            </a:xfrm>
            <a:custGeom>
              <a:avLst/>
              <a:gdLst>
                <a:gd name="connsiteX0" fmla="*/ 7348 w 38100"/>
                <a:gd name="connsiteY0" fmla="*/ 7348 h 38100"/>
                <a:gd name="connsiteX1" fmla="*/ 36875 w 38100"/>
                <a:gd name="connsiteY1" fmla="*/ 378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7348" y="7348"/>
                  </a:moveTo>
                  <a:lnTo>
                    <a:pt x="36875" y="3782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A9CD76D3-15A8-4DF6-A6BD-C1DC14A1FD73}"/>
                </a:ext>
              </a:extLst>
            </p:cNvPr>
            <p:cNvSpPr/>
            <p:nvPr/>
          </p:nvSpPr>
          <p:spPr>
            <a:xfrm>
              <a:off x="5608908" y="3500391"/>
              <a:ext cx="47625" cy="9525"/>
            </a:xfrm>
            <a:custGeom>
              <a:avLst/>
              <a:gdLst>
                <a:gd name="connsiteX0" fmla="*/ 7348 w 47625"/>
                <a:gd name="connsiteY0" fmla="*/ 7348 h 9525"/>
                <a:gd name="connsiteX1" fmla="*/ 49258 w 47625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9525">
                  <a:moveTo>
                    <a:pt x="7348" y="7348"/>
                  </a:moveTo>
                  <a:lnTo>
                    <a:pt x="49258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5174387F-5498-43B5-9BD4-CDDDB3781206}"/>
                </a:ext>
              </a:extLst>
            </p:cNvPr>
            <p:cNvSpPr/>
            <p:nvPr/>
          </p:nvSpPr>
          <p:spPr>
            <a:xfrm>
              <a:off x="5857511" y="3485151"/>
              <a:ext cx="57150" cy="9525"/>
            </a:xfrm>
            <a:custGeom>
              <a:avLst/>
              <a:gdLst>
                <a:gd name="connsiteX0" fmla="*/ 50211 w 57150"/>
                <a:gd name="connsiteY0" fmla="*/ 7348 h 9525"/>
                <a:gd name="connsiteX1" fmla="*/ 7348 w 57150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9525">
                  <a:moveTo>
                    <a:pt x="50211" y="7348"/>
                  </a:moveTo>
                  <a:lnTo>
                    <a:pt x="7348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A9E811E-E554-499D-99D0-41BF422A083D}"/>
                </a:ext>
              </a:extLst>
            </p:cNvPr>
            <p:cNvSpPr/>
            <p:nvPr/>
          </p:nvSpPr>
          <p:spPr>
            <a:xfrm>
              <a:off x="5822268" y="3384186"/>
              <a:ext cx="38100" cy="38100"/>
            </a:xfrm>
            <a:custGeom>
              <a:avLst/>
              <a:gdLst>
                <a:gd name="connsiteX0" fmla="*/ 36875 w 38100"/>
                <a:gd name="connsiteY0" fmla="*/ 7348 h 38100"/>
                <a:gd name="connsiteX1" fmla="*/ 7348 w 38100"/>
                <a:gd name="connsiteY1" fmla="*/ 378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6875" y="7348"/>
                  </a:moveTo>
                  <a:lnTo>
                    <a:pt x="7348" y="3782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56FD8CDE-CC36-4BFA-972D-1AE80A3FB139}"/>
                </a:ext>
              </a:extLst>
            </p:cNvPr>
            <p:cNvSpPr/>
            <p:nvPr/>
          </p:nvSpPr>
          <p:spPr>
            <a:xfrm>
              <a:off x="5747021" y="3347038"/>
              <a:ext cx="9525" cy="47625"/>
            </a:xfrm>
            <a:custGeom>
              <a:avLst/>
              <a:gdLst>
                <a:gd name="connsiteX0" fmla="*/ 7348 w 9525"/>
                <a:gd name="connsiteY0" fmla="*/ 7348 h 47625"/>
                <a:gd name="connsiteX1" fmla="*/ 7348 w 9525"/>
                <a:gd name="connsiteY1" fmla="*/ 4925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7625">
                  <a:moveTo>
                    <a:pt x="7348" y="7348"/>
                  </a:moveTo>
                  <a:lnTo>
                    <a:pt x="7348" y="4925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DC2E9263-35FD-45A5-9C19-292526AF772B}"/>
                </a:ext>
              </a:extLst>
            </p:cNvPr>
            <p:cNvSpPr/>
            <p:nvPr/>
          </p:nvSpPr>
          <p:spPr>
            <a:xfrm>
              <a:off x="5646056" y="3394663"/>
              <a:ext cx="38100" cy="38100"/>
            </a:xfrm>
            <a:custGeom>
              <a:avLst/>
              <a:gdLst>
                <a:gd name="connsiteX0" fmla="*/ 7348 w 38100"/>
                <a:gd name="connsiteY0" fmla="*/ 7348 h 38100"/>
                <a:gd name="connsiteX1" fmla="*/ 36875 w 38100"/>
                <a:gd name="connsiteY1" fmla="*/ 378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7348" y="7348"/>
                  </a:moveTo>
                  <a:lnTo>
                    <a:pt x="36875" y="3782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AE584BE6-D253-4E64-9373-69FCF8749164}"/>
                </a:ext>
              </a:extLst>
            </p:cNvPr>
            <p:cNvSpPr/>
            <p:nvPr/>
          </p:nvSpPr>
          <p:spPr>
            <a:xfrm>
              <a:off x="5608908" y="3500391"/>
              <a:ext cx="47625" cy="9525"/>
            </a:xfrm>
            <a:custGeom>
              <a:avLst/>
              <a:gdLst>
                <a:gd name="connsiteX0" fmla="*/ 7348 w 47625"/>
                <a:gd name="connsiteY0" fmla="*/ 7348 h 9525"/>
                <a:gd name="connsiteX1" fmla="*/ 49258 w 47625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9525">
                  <a:moveTo>
                    <a:pt x="7348" y="7348"/>
                  </a:moveTo>
                  <a:lnTo>
                    <a:pt x="49258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0734EA58-A191-43A8-AF45-4B9EC375F7D7}"/>
                </a:ext>
              </a:extLst>
            </p:cNvPr>
            <p:cNvSpPr/>
            <p:nvPr/>
          </p:nvSpPr>
          <p:spPr>
            <a:xfrm>
              <a:off x="5857511" y="3485151"/>
              <a:ext cx="57150" cy="9525"/>
            </a:xfrm>
            <a:custGeom>
              <a:avLst/>
              <a:gdLst>
                <a:gd name="connsiteX0" fmla="*/ 50211 w 57150"/>
                <a:gd name="connsiteY0" fmla="*/ 7348 h 9525"/>
                <a:gd name="connsiteX1" fmla="*/ 7348 w 57150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9525">
                  <a:moveTo>
                    <a:pt x="50211" y="7348"/>
                  </a:moveTo>
                  <a:lnTo>
                    <a:pt x="7348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728C57F-CD6D-473D-8041-29F35B4AB1AE}"/>
                </a:ext>
              </a:extLst>
            </p:cNvPr>
            <p:cNvSpPr/>
            <p:nvPr/>
          </p:nvSpPr>
          <p:spPr>
            <a:xfrm>
              <a:off x="5822268" y="3384186"/>
              <a:ext cx="38100" cy="38100"/>
            </a:xfrm>
            <a:custGeom>
              <a:avLst/>
              <a:gdLst>
                <a:gd name="connsiteX0" fmla="*/ 36875 w 38100"/>
                <a:gd name="connsiteY0" fmla="*/ 7348 h 38100"/>
                <a:gd name="connsiteX1" fmla="*/ 7348 w 38100"/>
                <a:gd name="connsiteY1" fmla="*/ 378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6875" y="7348"/>
                  </a:moveTo>
                  <a:lnTo>
                    <a:pt x="7348" y="3782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CDE92306-AA93-47B3-9BA7-B4EED888F6D4}"/>
                </a:ext>
              </a:extLst>
            </p:cNvPr>
            <p:cNvSpPr/>
            <p:nvPr/>
          </p:nvSpPr>
          <p:spPr>
            <a:xfrm>
              <a:off x="5722256" y="3610881"/>
              <a:ext cx="76200" cy="47625"/>
            </a:xfrm>
            <a:custGeom>
              <a:avLst/>
              <a:gdLst>
                <a:gd name="connsiteX0" fmla="*/ 74023 w 76200"/>
                <a:gd name="connsiteY0" fmla="*/ 7348 h 47625"/>
                <a:gd name="connsiteX1" fmla="*/ 40686 w 76200"/>
                <a:gd name="connsiteY1" fmla="*/ 40686 h 47625"/>
                <a:gd name="connsiteX2" fmla="*/ 7348 w 76200"/>
                <a:gd name="connsiteY2" fmla="*/ 734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47625">
                  <a:moveTo>
                    <a:pt x="74023" y="7348"/>
                  </a:moveTo>
                  <a:cubicBezTo>
                    <a:pt x="74023" y="25446"/>
                    <a:pt x="58783" y="40686"/>
                    <a:pt x="40686" y="40686"/>
                  </a:cubicBezTo>
                  <a:cubicBezTo>
                    <a:pt x="22588" y="40686"/>
                    <a:pt x="7348" y="25446"/>
                    <a:pt x="7348" y="7348"/>
                  </a:cubicBez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5E45A69D-FC2A-4289-BA4A-8BDBC9629E01}"/>
                </a:ext>
              </a:extLst>
            </p:cNvPr>
            <p:cNvSpPr/>
            <p:nvPr/>
          </p:nvSpPr>
          <p:spPr>
            <a:xfrm>
              <a:off x="5712731" y="3610881"/>
              <a:ext cx="95250" cy="9525"/>
            </a:xfrm>
            <a:custGeom>
              <a:avLst/>
              <a:gdLst>
                <a:gd name="connsiteX0" fmla="*/ 7348 w 95250"/>
                <a:gd name="connsiteY0" fmla="*/ 7348 h 9525"/>
                <a:gd name="connsiteX1" fmla="*/ 92121 w 95250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">
                  <a:moveTo>
                    <a:pt x="7348" y="7348"/>
                  </a:moveTo>
                  <a:lnTo>
                    <a:pt x="92121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8C7B4869-E913-49C9-86BC-20F1096EE233}"/>
                </a:ext>
              </a:extLst>
            </p:cNvPr>
            <p:cNvSpPr/>
            <p:nvPr/>
          </p:nvSpPr>
          <p:spPr>
            <a:xfrm>
              <a:off x="5722256" y="3610881"/>
              <a:ext cx="76200" cy="47625"/>
            </a:xfrm>
            <a:custGeom>
              <a:avLst/>
              <a:gdLst>
                <a:gd name="connsiteX0" fmla="*/ 74023 w 76200"/>
                <a:gd name="connsiteY0" fmla="*/ 7348 h 47625"/>
                <a:gd name="connsiteX1" fmla="*/ 40686 w 76200"/>
                <a:gd name="connsiteY1" fmla="*/ 40686 h 47625"/>
                <a:gd name="connsiteX2" fmla="*/ 7348 w 76200"/>
                <a:gd name="connsiteY2" fmla="*/ 734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47625">
                  <a:moveTo>
                    <a:pt x="74023" y="7348"/>
                  </a:moveTo>
                  <a:cubicBezTo>
                    <a:pt x="74023" y="25446"/>
                    <a:pt x="58783" y="40686"/>
                    <a:pt x="40686" y="40686"/>
                  </a:cubicBezTo>
                  <a:cubicBezTo>
                    <a:pt x="22588" y="40686"/>
                    <a:pt x="7348" y="25446"/>
                    <a:pt x="7348" y="7348"/>
                  </a:cubicBez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F35BC04-E7C6-48C2-B755-A43D04F18107}"/>
                </a:ext>
              </a:extLst>
            </p:cNvPr>
            <p:cNvSpPr/>
            <p:nvPr/>
          </p:nvSpPr>
          <p:spPr>
            <a:xfrm>
              <a:off x="5703206" y="3588973"/>
              <a:ext cx="114300" cy="9525"/>
            </a:xfrm>
            <a:custGeom>
              <a:avLst/>
              <a:gdLst>
                <a:gd name="connsiteX0" fmla="*/ 7348 w 114300"/>
                <a:gd name="connsiteY0" fmla="*/ 7348 h 9525"/>
                <a:gd name="connsiteX1" fmla="*/ 111171 w 114300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9525">
                  <a:moveTo>
                    <a:pt x="7348" y="7348"/>
                  </a:moveTo>
                  <a:lnTo>
                    <a:pt x="111171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0EF2B8E8-37C2-48C2-ABA2-328F2F2EA4D6}"/>
                </a:ext>
              </a:extLst>
            </p:cNvPr>
            <p:cNvSpPr/>
            <p:nvPr/>
          </p:nvSpPr>
          <p:spPr>
            <a:xfrm>
              <a:off x="5712731" y="3610881"/>
              <a:ext cx="95250" cy="9525"/>
            </a:xfrm>
            <a:custGeom>
              <a:avLst/>
              <a:gdLst>
                <a:gd name="connsiteX0" fmla="*/ 7348 w 95250"/>
                <a:gd name="connsiteY0" fmla="*/ 7348 h 9525"/>
                <a:gd name="connsiteX1" fmla="*/ 92121 w 95250"/>
                <a:gd name="connsiteY1" fmla="*/ 734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9525">
                  <a:moveTo>
                    <a:pt x="7348" y="7348"/>
                  </a:moveTo>
                  <a:lnTo>
                    <a:pt x="92121" y="7348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2D4F167-B32E-416A-9E24-8199FDE04331}"/>
                </a:ext>
              </a:extLst>
            </p:cNvPr>
            <p:cNvSpPr/>
            <p:nvPr/>
          </p:nvSpPr>
          <p:spPr>
            <a:xfrm>
              <a:off x="5802266" y="3448956"/>
              <a:ext cx="38100" cy="28575"/>
            </a:xfrm>
            <a:custGeom>
              <a:avLst/>
              <a:gdLst>
                <a:gd name="connsiteX0" fmla="*/ 31161 w 38100"/>
                <a:gd name="connsiteY0" fmla="*/ 7348 h 28575"/>
                <a:gd name="connsiteX1" fmla="*/ 26398 w 38100"/>
                <a:gd name="connsiteY1" fmla="*/ 26398 h 28575"/>
                <a:gd name="connsiteX2" fmla="*/ 7348 w 38100"/>
                <a:gd name="connsiteY2" fmla="*/ 2068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28575">
                  <a:moveTo>
                    <a:pt x="31161" y="7348"/>
                  </a:moveTo>
                  <a:lnTo>
                    <a:pt x="26398" y="26398"/>
                  </a:lnTo>
                  <a:lnTo>
                    <a:pt x="7348" y="20683"/>
                  </a:ln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C8AC9A3-E897-415B-8188-CF49488EAD5C}"/>
                </a:ext>
              </a:extLst>
            </p:cNvPr>
            <p:cNvSpPr/>
            <p:nvPr/>
          </p:nvSpPr>
          <p:spPr>
            <a:xfrm>
              <a:off x="5682780" y="3420910"/>
              <a:ext cx="152400" cy="152400"/>
            </a:xfrm>
            <a:custGeom>
              <a:avLst/>
              <a:gdLst>
                <a:gd name="connsiteX0" fmla="*/ 143979 w 152400"/>
                <a:gd name="connsiteY0" fmla="*/ 49681 h 152400"/>
                <a:gd name="connsiteX1" fmla="*/ 92544 w 152400"/>
                <a:gd name="connsiteY1" fmla="*/ 8724 h 152400"/>
                <a:gd name="connsiteX2" fmla="*/ 8724 w 152400"/>
                <a:gd name="connsiteY2" fmla="*/ 64921 h 152400"/>
                <a:gd name="connsiteX3" fmla="*/ 64921 w 152400"/>
                <a:gd name="connsiteY3" fmla="*/ 148741 h 152400"/>
                <a:gd name="connsiteX4" fmla="*/ 148741 w 152400"/>
                <a:gd name="connsiteY4" fmla="*/ 92544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43979" y="49681"/>
                  </a:moveTo>
                  <a:cubicBezTo>
                    <a:pt x="135406" y="28726"/>
                    <a:pt x="116356" y="13486"/>
                    <a:pt x="92544" y="8724"/>
                  </a:cubicBezTo>
                  <a:cubicBezTo>
                    <a:pt x="54444" y="1104"/>
                    <a:pt x="16344" y="25869"/>
                    <a:pt x="8724" y="64921"/>
                  </a:cubicBezTo>
                  <a:cubicBezTo>
                    <a:pt x="1104" y="103021"/>
                    <a:pt x="25869" y="141121"/>
                    <a:pt x="64921" y="148741"/>
                  </a:cubicBezTo>
                  <a:cubicBezTo>
                    <a:pt x="103021" y="156361"/>
                    <a:pt x="141121" y="131596"/>
                    <a:pt x="148741" y="92544"/>
                  </a:cubicBezTo>
                </a:path>
              </a:pathLst>
            </a:custGeom>
            <a:noFill/>
            <a:ln w="15875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="horz" wrap="square" lIns="89642" tIns="44821" rIns="89642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9725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79449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19174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58898" algn="ctr" rtl="0" fontAlgn="base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98623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38348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8072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17797" algn="l" defTabSz="1079449" rtl="0" eaLnBrk="1" latinLnBrk="0" hangingPunct="1"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14"/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endParaRPr>
            </a:p>
          </p:txBody>
        </p:sp>
      </p:grp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C9D94422-B5B2-4651-8D53-519E43F8E627}"/>
              </a:ext>
            </a:extLst>
          </p:cNvPr>
          <p:cNvSpPr/>
          <p:nvPr/>
        </p:nvSpPr>
        <p:spPr>
          <a:xfrm>
            <a:off x="8226369" y="2948836"/>
            <a:ext cx="413251" cy="413249"/>
          </a:xfrm>
          <a:custGeom>
            <a:avLst/>
            <a:gdLst>
              <a:gd name="connsiteX0" fmla="*/ 209278 w 314325"/>
              <a:gd name="connsiteY0" fmla="*/ 159748 h 314325"/>
              <a:gd name="connsiteX1" fmla="*/ 158796 w 314325"/>
              <a:gd name="connsiteY1" fmla="*/ 211183 h 314325"/>
              <a:gd name="connsiteX2" fmla="*/ 108313 w 314325"/>
              <a:gd name="connsiteY2" fmla="*/ 159748 h 314325"/>
              <a:gd name="connsiteX3" fmla="*/ 158796 w 314325"/>
              <a:gd name="connsiteY3" fmla="*/ 108313 h 314325"/>
              <a:gd name="connsiteX4" fmla="*/ 209278 w 314325"/>
              <a:gd name="connsiteY4" fmla="*/ 159748 h 314325"/>
              <a:gd name="connsiteX5" fmla="*/ 209278 w 314325"/>
              <a:gd name="connsiteY5" fmla="*/ 159748 h 314325"/>
              <a:gd name="connsiteX6" fmla="*/ 238806 w 314325"/>
              <a:gd name="connsiteY6" fmla="*/ 7348 h 314325"/>
              <a:gd name="connsiteX7" fmla="*/ 208326 w 314325"/>
              <a:gd name="connsiteY7" fmla="*/ 37828 h 314325"/>
              <a:gd name="connsiteX8" fmla="*/ 238806 w 314325"/>
              <a:gd name="connsiteY8" fmla="*/ 68308 h 314325"/>
              <a:gd name="connsiteX9" fmla="*/ 269286 w 314325"/>
              <a:gd name="connsiteY9" fmla="*/ 37828 h 314325"/>
              <a:gd name="connsiteX10" fmla="*/ 238806 w 314325"/>
              <a:gd name="connsiteY10" fmla="*/ 7348 h 314325"/>
              <a:gd name="connsiteX11" fmla="*/ 238806 w 314325"/>
              <a:gd name="connsiteY11" fmla="*/ 7348 h 314325"/>
              <a:gd name="connsiteX12" fmla="*/ 77833 w 314325"/>
              <a:gd name="connsiteY12" fmla="*/ 27351 h 314325"/>
              <a:gd name="connsiteX13" fmla="*/ 47353 w 314325"/>
              <a:gd name="connsiteY13" fmla="*/ 58783 h 314325"/>
              <a:gd name="connsiteX14" fmla="*/ 77833 w 314325"/>
              <a:gd name="connsiteY14" fmla="*/ 89263 h 314325"/>
              <a:gd name="connsiteX15" fmla="*/ 108313 w 314325"/>
              <a:gd name="connsiteY15" fmla="*/ 58783 h 314325"/>
              <a:gd name="connsiteX16" fmla="*/ 77833 w 314325"/>
              <a:gd name="connsiteY16" fmla="*/ 27351 h 314325"/>
              <a:gd name="connsiteX17" fmla="*/ 77833 w 314325"/>
              <a:gd name="connsiteY17" fmla="*/ 27351 h 314325"/>
              <a:gd name="connsiteX18" fmla="*/ 37828 w 314325"/>
              <a:gd name="connsiteY18" fmla="*/ 190228 h 314325"/>
              <a:gd name="connsiteX19" fmla="*/ 7348 w 314325"/>
              <a:gd name="connsiteY19" fmla="*/ 220708 h 314325"/>
              <a:gd name="connsiteX20" fmla="*/ 37828 w 314325"/>
              <a:gd name="connsiteY20" fmla="*/ 252141 h 314325"/>
              <a:gd name="connsiteX21" fmla="*/ 68308 w 314325"/>
              <a:gd name="connsiteY21" fmla="*/ 220708 h 314325"/>
              <a:gd name="connsiteX22" fmla="*/ 37828 w 314325"/>
              <a:gd name="connsiteY22" fmla="*/ 190228 h 314325"/>
              <a:gd name="connsiteX23" fmla="*/ 37828 w 314325"/>
              <a:gd name="connsiteY23" fmla="*/ 190228 h 314325"/>
              <a:gd name="connsiteX24" fmla="*/ 198801 w 314325"/>
              <a:gd name="connsiteY24" fmla="*/ 252141 h 314325"/>
              <a:gd name="connsiteX25" fmla="*/ 168321 w 314325"/>
              <a:gd name="connsiteY25" fmla="*/ 282621 h 314325"/>
              <a:gd name="connsiteX26" fmla="*/ 198801 w 314325"/>
              <a:gd name="connsiteY26" fmla="*/ 313101 h 314325"/>
              <a:gd name="connsiteX27" fmla="*/ 229281 w 314325"/>
              <a:gd name="connsiteY27" fmla="*/ 282621 h 314325"/>
              <a:gd name="connsiteX28" fmla="*/ 198801 w 314325"/>
              <a:gd name="connsiteY28" fmla="*/ 252141 h 314325"/>
              <a:gd name="connsiteX29" fmla="*/ 198801 w 314325"/>
              <a:gd name="connsiteY29" fmla="*/ 252141 h 314325"/>
              <a:gd name="connsiteX30" fmla="*/ 279763 w 314325"/>
              <a:gd name="connsiteY30" fmla="*/ 149271 h 314325"/>
              <a:gd name="connsiteX31" fmla="*/ 249283 w 314325"/>
              <a:gd name="connsiteY31" fmla="*/ 179751 h 314325"/>
              <a:gd name="connsiteX32" fmla="*/ 279763 w 314325"/>
              <a:gd name="connsiteY32" fmla="*/ 211183 h 314325"/>
              <a:gd name="connsiteX33" fmla="*/ 310243 w 314325"/>
              <a:gd name="connsiteY33" fmla="*/ 179751 h 314325"/>
              <a:gd name="connsiteX34" fmla="*/ 279763 w 314325"/>
              <a:gd name="connsiteY34" fmla="*/ 149271 h 314325"/>
              <a:gd name="connsiteX35" fmla="*/ 279763 w 314325"/>
              <a:gd name="connsiteY35" fmla="*/ 149271 h 314325"/>
              <a:gd name="connsiteX36" fmla="*/ 221661 w 314325"/>
              <a:gd name="connsiteY36" fmla="*/ 62593 h 314325"/>
              <a:gd name="connsiteX37" fmla="*/ 186418 w 314325"/>
              <a:gd name="connsiteY37" fmla="*/ 116886 h 314325"/>
              <a:gd name="connsiteX38" fmla="*/ 126411 w 314325"/>
              <a:gd name="connsiteY38" fmla="*/ 119743 h 314325"/>
              <a:gd name="connsiteX39" fmla="*/ 95931 w 314325"/>
              <a:gd name="connsiteY39" fmla="*/ 81643 h 314325"/>
              <a:gd name="connsiteX40" fmla="*/ 64498 w 314325"/>
              <a:gd name="connsiteY40" fmla="*/ 207373 h 314325"/>
              <a:gd name="connsiteX41" fmla="*/ 113076 w 314325"/>
              <a:gd name="connsiteY41" fmla="*/ 182608 h 314325"/>
              <a:gd name="connsiteX42" fmla="*/ 189276 w 314325"/>
              <a:gd name="connsiteY42" fmla="*/ 253093 h 314325"/>
              <a:gd name="connsiteX43" fmla="*/ 174988 w 314325"/>
              <a:gd name="connsiteY43" fmla="*/ 208326 h 314325"/>
              <a:gd name="connsiteX44" fmla="*/ 208326 w 314325"/>
              <a:gd name="connsiteY44" fmla="*/ 168321 h 314325"/>
              <a:gd name="connsiteX45" fmla="*/ 249283 w 314325"/>
              <a:gd name="connsiteY45" fmla="*/ 174988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325" h="314325">
                <a:moveTo>
                  <a:pt x="209278" y="159748"/>
                </a:moveTo>
                <a:cubicBezTo>
                  <a:pt x="209278" y="187371"/>
                  <a:pt x="186418" y="211183"/>
                  <a:pt x="158796" y="211183"/>
                </a:cubicBezTo>
                <a:cubicBezTo>
                  <a:pt x="131173" y="211183"/>
                  <a:pt x="108313" y="187371"/>
                  <a:pt x="108313" y="159748"/>
                </a:cubicBezTo>
                <a:cubicBezTo>
                  <a:pt x="108313" y="132126"/>
                  <a:pt x="131173" y="108313"/>
                  <a:pt x="158796" y="108313"/>
                </a:cubicBezTo>
                <a:cubicBezTo>
                  <a:pt x="186418" y="108313"/>
                  <a:pt x="209278" y="132126"/>
                  <a:pt x="209278" y="159748"/>
                </a:cubicBezTo>
                <a:lnTo>
                  <a:pt x="209278" y="159748"/>
                </a:lnTo>
                <a:close/>
                <a:moveTo>
                  <a:pt x="238806" y="7348"/>
                </a:moveTo>
                <a:cubicBezTo>
                  <a:pt x="221661" y="7348"/>
                  <a:pt x="208326" y="21636"/>
                  <a:pt x="208326" y="37828"/>
                </a:cubicBezTo>
                <a:cubicBezTo>
                  <a:pt x="208326" y="54973"/>
                  <a:pt x="221661" y="68308"/>
                  <a:pt x="238806" y="68308"/>
                </a:cubicBezTo>
                <a:cubicBezTo>
                  <a:pt x="254998" y="68308"/>
                  <a:pt x="269286" y="54973"/>
                  <a:pt x="269286" y="37828"/>
                </a:cubicBezTo>
                <a:cubicBezTo>
                  <a:pt x="269286" y="20683"/>
                  <a:pt x="254998" y="7348"/>
                  <a:pt x="238806" y="7348"/>
                </a:cubicBezTo>
                <a:lnTo>
                  <a:pt x="238806" y="7348"/>
                </a:lnTo>
                <a:close/>
                <a:moveTo>
                  <a:pt x="77833" y="27351"/>
                </a:moveTo>
                <a:cubicBezTo>
                  <a:pt x="61641" y="27351"/>
                  <a:pt x="47353" y="40686"/>
                  <a:pt x="47353" y="58783"/>
                </a:cubicBezTo>
                <a:cubicBezTo>
                  <a:pt x="47353" y="74976"/>
                  <a:pt x="60688" y="89263"/>
                  <a:pt x="77833" y="89263"/>
                </a:cubicBezTo>
                <a:cubicBezTo>
                  <a:pt x="94978" y="89263"/>
                  <a:pt x="108313" y="74976"/>
                  <a:pt x="108313" y="58783"/>
                </a:cubicBezTo>
                <a:cubicBezTo>
                  <a:pt x="108313" y="40686"/>
                  <a:pt x="94978" y="27351"/>
                  <a:pt x="77833" y="27351"/>
                </a:cubicBezTo>
                <a:lnTo>
                  <a:pt x="77833" y="27351"/>
                </a:lnTo>
                <a:close/>
                <a:moveTo>
                  <a:pt x="37828" y="190228"/>
                </a:moveTo>
                <a:cubicBezTo>
                  <a:pt x="21636" y="190228"/>
                  <a:pt x="7348" y="204516"/>
                  <a:pt x="7348" y="220708"/>
                </a:cubicBezTo>
                <a:cubicBezTo>
                  <a:pt x="7348" y="237853"/>
                  <a:pt x="20683" y="252141"/>
                  <a:pt x="37828" y="252141"/>
                </a:cubicBezTo>
                <a:cubicBezTo>
                  <a:pt x="54973" y="252141"/>
                  <a:pt x="68308" y="237853"/>
                  <a:pt x="68308" y="220708"/>
                </a:cubicBezTo>
                <a:cubicBezTo>
                  <a:pt x="67356" y="204516"/>
                  <a:pt x="54973" y="190228"/>
                  <a:pt x="37828" y="190228"/>
                </a:cubicBezTo>
                <a:lnTo>
                  <a:pt x="37828" y="190228"/>
                </a:lnTo>
                <a:close/>
                <a:moveTo>
                  <a:pt x="198801" y="252141"/>
                </a:moveTo>
                <a:cubicBezTo>
                  <a:pt x="181656" y="252141"/>
                  <a:pt x="168321" y="265476"/>
                  <a:pt x="168321" y="282621"/>
                </a:cubicBezTo>
                <a:cubicBezTo>
                  <a:pt x="168321" y="298813"/>
                  <a:pt x="181656" y="313101"/>
                  <a:pt x="198801" y="313101"/>
                </a:cubicBezTo>
                <a:cubicBezTo>
                  <a:pt x="214993" y="313101"/>
                  <a:pt x="229281" y="298813"/>
                  <a:pt x="229281" y="282621"/>
                </a:cubicBezTo>
                <a:cubicBezTo>
                  <a:pt x="228328" y="265476"/>
                  <a:pt x="214993" y="252141"/>
                  <a:pt x="198801" y="252141"/>
                </a:cubicBezTo>
                <a:lnTo>
                  <a:pt x="198801" y="252141"/>
                </a:lnTo>
                <a:close/>
                <a:moveTo>
                  <a:pt x="279763" y="149271"/>
                </a:moveTo>
                <a:cubicBezTo>
                  <a:pt x="262618" y="149271"/>
                  <a:pt x="249283" y="163558"/>
                  <a:pt x="249283" y="179751"/>
                </a:cubicBezTo>
                <a:cubicBezTo>
                  <a:pt x="249283" y="196896"/>
                  <a:pt x="262618" y="211183"/>
                  <a:pt x="279763" y="211183"/>
                </a:cubicBezTo>
                <a:cubicBezTo>
                  <a:pt x="295956" y="211183"/>
                  <a:pt x="310243" y="196896"/>
                  <a:pt x="310243" y="179751"/>
                </a:cubicBezTo>
                <a:cubicBezTo>
                  <a:pt x="309291" y="163558"/>
                  <a:pt x="295956" y="149271"/>
                  <a:pt x="279763" y="149271"/>
                </a:cubicBezTo>
                <a:lnTo>
                  <a:pt x="279763" y="149271"/>
                </a:lnTo>
                <a:close/>
                <a:moveTo>
                  <a:pt x="221661" y="62593"/>
                </a:moveTo>
                <a:cubicBezTo>
                  <a:pt x="186418" y="116886"/>
                  <a:pt x="186418" y="116886"/>
                  <a:pt x="186418" y="116886"/>
                </a:cubicBezTo>
                <a:moveTo>
                  <a:pt x="126411" y="119743"/>
                </a:moveTo>
                <a:cubicBezTo>
                  <a:pt x="95931" y="81643"/>
                  <a:pt x="95931" y="81643"/>
                  <a:pt x="95931" y="81643"/>
                </a:cubicBezTo>
                <a:moveTo>
                  <a:pt x="64498" y="207373"/>
                </a:moveTo>
                <a:cubicBezTo>
                  <a:pt x="113076" y="182608"/>
                  <a:pt x="113076" y="182608"/>
                  <a:pt x="113076" y="182608"/>
                </a:cubicBezTo>
                <a:moveTo>
                  <a:pt x="189276" y="253093"/>
                </a:moveTo>
                <a:cubicBezTo>
                  <a:pt x="174988" y="208326"/>
                  <a:pt x="174988" y="208326"/>
                  <a:pt x="174988" y="208326"/>
                </a:cubicBezTo>
                <a:moveTo>
                  <a:pt x="208326" y="168321"/>
                </a:moveTo>
                <a:cubicBezTo>
                  <a:pt x="249283" y="174988"/>
                  <a:pt x="249283" y="174988"/>
                  <a:pt x="249283" y="174988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25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449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9174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898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98623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8348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8072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797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14"/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151" name="ContactCard_EEBD" title="Icon of a contact card">
            <a:extLst>
              <a:ext uri="{FF2B5EF4-FFF2-40B4-BE49-F238E27FC236}">
                <a16:creationId xmlns:a16="http://schemas.microsoft.com/office/drawing/2014/main" id="{9786B954-A38B-4BA0-BA61-DA9650C1E7E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51960" y="3002423"/>
            <a:ext cx="448212" cy="328906"/>
          </a:xfrm>
          <a:custGeom>
            <a:avLst/>
            <a:gdLst>
              <a:gd name="T0" fmla="*/ 2121 w 3742"/>
              <a:gd name="T1" fmla="*/ 998 h 2744"/>
              <a:gd name="T2" fmla="*/ 3368 w 3742"/>
              <a:gd name="T3" fmla="*/ 998 h 2744"/>
              <a:gd name="T4" fmla="*/ 2121 w 3742"/>
              <a:gd name="T5" fmla="*/ 1746 h 2744"/>
              <a:gd name="T6" fmla="*/ 2869 w 3742"/>
              <a:gd name="T7" fmla="*/ 1746 h 2744"/>
              <a:gd name="T8" fmla="*/ 3742 w 3742"/>
              <a:gd name="T9" fmla="*/ 0 h 2744"/>
              <a:gd name="T10" fmla="*/ 0 w 3742"/>
              <a:gd name="T11" fmla="*/ 0 h 2744"/>
              <a:gd name="T12" fmla="*/ 0 w 3742"/>
              <a:gd name="T13" fmla="*/ 2744 h 2744"/>
              <a:gd name="T14" fmla="*/ 3742 w 3742"/>
              <a:gd name="T15" fmla="*/ 2744 h 2744"/>
              <a:gd name="T16" fmla="*/ 3742 w 3742"/>
              <a:gd name="T17" fmla="*/ 0 h 2744"/>
              <a:gd name="T18" fmla="*/ 1123 w 3742"/>
              <a:gd name="T19" fmla="*/ 748 h 2744"/>
              <a:gd name="T20" fmla="*/ 748 w 3742"/>
              <a:gd name="T21" fmla="*/ 1123 h 2744"/>
              <a:gd name="T22" fmla="*/ 1123 w 3742"/>
              <a:gd name="T23" fmla="*/ 1497 h 2744"/>
              <a:gd name="T24" fmla="*/ 1497 w 3742"/>
              <a:gd name="T25" fmla="*/ 1123 h 2744"/>
              <a:gd name="T26" fmla="*/ 1123 w 3742"/>
              <a:gd name="T27" fmla="*/ 748 h 2744"/>
              <a:gd name="T28" fmla="*/ 1746 w 3742"/>
              <a:gd name="T29" fmla="*/ 2121 h 2744"/>
              <a:gd name="T30" fmla="*/ 1123 w 3742"/>
              <a:gd name="T31" fmla="*/ 1497 h 2744"/>
              <a:gd name="T32" fmla="*/ 499 w 3742"/>
              <a:gd name="T33" fmla="*/ 2121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742" h="2744">
                <a:moveTo>
                  <a:pt x="2121" y="998"/>
                </a:moveTo>
                <a:cubicBezTo>
                  <a:pt x="3368" y="998"/>
                  <a:pt x="3368" y="998"/>
                  <a:pt x="3368" y="998"/>
                </a:cubicBezTo>
                <a:moveTo>
                  <a:pt x="2121" y="1746"/>
                </a:moveTo>
                <a:cubicBezTo>
                  <a:pt x="2869" y="1746"/>
                  <a:pt x="2869" y="1746"/>
                  <a:pt x="2869" y="1746"/>
                </a:cubicBezTo>
                <a:moveTo>
                  <a:pt x="374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2744"/>
                  <a:pt x="0" y="2744"/>
                  <a:pt x="0" y="2744"/>
                </a:cubicBezTo>
                <a:cubicBezTo>
                  <a:pt x="3742" y="2744"/>
                  <a:pt x="3742" y="2744"/>
                  <a:pt x="3742" y="2744"/>
                </a:cubicBezTo>
                <a:lnTo>
                  <a:pt x="3742" y="0"/>
                </a:lnTo>
                <a:close/>
                <a:moveTo>
                  <a:pt x="1123" y="748"/>
                </a:moveTo>
                <a:cubicBezTo>
                  <a:pt x="916" y="748"/>
                  <a:pt x="748" y="916"/>
                  <a:pt x="748" y="1123"/>
                </a:cubicBezTo>
                <a:cubicBezTo>
                  <a:pt x="748" y="1329"/>
                  <a:pt x="916" y="1497"/>
                  <a:pt x="1123" y="1497"/>
                </a:cubicBezTo>
                <a:cubicBezTo>
                  <a:pt x="1329" y="1497"/>
                  <a:pt x="1497" y="1329"/>
                  <a:pt x="1497" y="1123"/>
                </a:cubicBezTo>
                <a:cubicBezTo>
                  <a:pt x="1497" y="916"/>
                  <a:pt x="1329" y="748"/>
                  <a:pt x="1123" y="748"/>
                </a:cubicBezTo>
                <a:close/>
                <a:moveTo>
                  <a:pt x="1746" y="2121"/>
                </a:moveTo>
                <a:cubicBezTo>
                  <a:pt x="1746" y="1776"/>
                  <a:pt x="1467" y="1497"/>
                  <a:pt x="1123" y="1497"/>
                </a:cubicBezTo>
                <a:cubicBezTo>
                  <a:pt x="778" y="1497"/>
                  <a:pt x="499" y="1776"/>
                  <a:pt x="499" y="2121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25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449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9174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8898" algn="ctr" rtl="0" fontAlgn="base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98623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8348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8072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797" algn="l" defTabSz="1079449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14"/>
            <a:endParaRPr lang="en-US" sz="1667">
              <a:solidFill>
                <a:srgbClr val="282828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5692517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11AF0E-6420-4C15-A0D4-E085FD50E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5" y="312651"/>
            <a:ext cx="11151917" cy="997196"/>
          </a:xfrm>
        </p:spPr>
        <p:txBody>
          <a:bodyPr/>
          <a:lstStyle/>
          <a:p>
            <a:r>
              <a:rPr lang="de-DE" dirty="0"/>
              <a:t>Erforderliche Anmeldeinformationen</a:t>
            </a:r>
            <a:r>
              <a:rPr lang="en-US" dirty="0"/>
              <a:t>
</a:t>
            </a:r>
          </a:p>
        </p:txBody>
      </p:sp>
      <p:pic>
        <p:nvPicPr>
          <p:cNvPr id="1026" name="Picture 2" descr="https://gxcuf89792.i.lithium.com/t5/image/serverpage/image-id/100601i362E6CE0D3AAE33E/image-size/large?v=1.0&amp;px=999">
            <a:extLst>
              <a:ext uri="{FF2B5EF4-FFF2-40B4-BE49-F238E27FC236}">
                <a16:creationId xmlns:a16="http://schemas.microsoft.com/office/drawing/2014/main" id="{7919EB1B-D83C-4437-9EC2-315D0D363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84" y="1549237"/>
            <a:ext cx="10928433" cy="4434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A3797122-9EBC-4178-8B70-72FABF871FD9}"/>
              </a:ext>
            </a:extLst>
          </p:cNvPr>
          <p:cNvSpPr/>
          <p:nvPr/>
        </p:nvSpPr>
        <p:spPr bwMode="auto">
          <a:xfrm>
            <a:off x="1511365" y="3013256"/>
            <a:ext cx="741517" cy="484632"/>
          </a:xfrm>
          <a:prstGeom prst="rightArrow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3260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LESEGpRs2m5lzqCmhb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eRPGGySSWsFD4iCcEpng"/>
</p:tagLst>
</file>

<file path=ppt/theme/theme1.xml><?xml version="1.0" encoding="utf-8"?>
<a:theme xmlns:a="http://schemas.openxmlformats.org/drawingml/2006/main" name="INFOTECH_Vorlage_Praesentation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INFOTECH_Trennseite weiß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INFOTECH_Trennseite_RO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INFOTECH_Trennseite_BLA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INFOTECH_Trennseite_GRU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INOFTECH_Abschlussseit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7AE656A8A36924FA67B713E5B54C2DE" ma:contentTypeVersion="2" ma:contentTypeDescription="Ein neues Dokument erstellen." ma:contentTypeScope="" ma:versionID="803ecd1d73061abee852b10339f98727">
  <xsd:schema xmlns:xsd="http://www.w3.org/2001/XMLSchema" xmlns:xs="http://www.w3.org/2001/XMLSchema" xmlns:p="http://schemas.microsoft.com/office/2006/metadata/properties" xmlns:ns2="143fcfe9-40e2-4c16-b1f3-68cc682b63af" targetNamespace="http://schemas.microsoft.com/office/2006/metadata/properties" ma:root="true" ma:fieldsID="c480e1cb359c58272b8028379bf079e6" ns2:_="">
    <xsd:import namespace="143fcfe9-40e2-4c16-b1f3-68cc682b63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3fcfe9-40e2-4c16-b1f3-68cc682b63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6D5B8EF-3FDF-4FF6-96A9-D18787835A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032547-1DD7-4E66-9CD5-EC71C8EA25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3fcfe9-40e2-4c16-b1f3-68cc682b63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0AFB58-8FF5-4C98-A35C-A1DB7EF19691}">
  <ds:schemaRefs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32</Words>
  <Application>Microsoft Office PowerPoint</Application>
  <PresentationFormat>Widescreen</PresentationFormat>
  <Paragraphs>269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3" baseType="lpstr">
      <vt:lpstr>Arial</vt:lpstr>
      <vt:lpstr>Calibri</vt:lpstr>
      <vt:lpstr>Calibri Light</vt:lpstr>
      <vt:lpstr>Courier New</vt:lpstr>
      <vt:lpstr>Klavika Bold</vt:lpstr>
      <vt:lpstr>Klavika Bold Bold</vt:lpstr>
      <vt:lpstr>Klavika Regular</vt:lpstr>
      <vt:lpstr>KlavikaLight-Plain</vt:lpstr>
      <vt:lpstr>KlavikaMedium-TF</vt:lpstr>
      <vt:lpstr>KlavikaRegular-TF</vt:lpstr>
      <vt:lpstr>Segoe Pro Semibold</vt:lpstr>
      <vt:lpstr>Segoe UI</vt:lpstr>
      <vt:lpstr>Segoe UI </vt:lpstr>
      <vt:lpstr>Segoe UI Light</vt:lpstr>
      <vt:lpstr>Segoe UI Semibold</vt:lpstr>
      <vt:lpstr>Segoe UI Semilight</vt:lpstr>
      <vt:lpstr>Wingdings</vt:lpstr>
      <vt:lpstr>INFOTECH_Vorlage_Praesentation</vt:lpstr>
      <vt:lpstr>1_INFOTECH_Trennseite weiß</vt:lpstr>
      <vt:lpstr>INFOTECH_Trennseite_ROT</vt:lpstr>
      <vt:lpstr>1_INFOTECH_Trennseite_BLAU</vt:lpstr>
      <vt:lpstr>2_INFOTECH_Trennseite_GRUEN</vt:lpstr>
      <vt:lpstr>INOFTECH_Abschlussseiten</vt:lpstr>
      <vt:lpstr>think-cell Slide</vt:lpstr>
      <vt:lpstr>PowerPoint Presentation</vt:lpstr>
      <vt:lpstr>Virtualisierungsszenarien 
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oraussetzungen
</vt:lpstr>
      <vt:lpstr>Erforderliche Anmeldeinformationen
</vt:lpstr>
      <vt:lpstr>PowerPoint Presentation</vt:lpstr>
      <vt:lpstr>PowerPoint Presentation</vt:lpstr>
      <vt:lpstr>PowerPoint Presentation</vt:lpstr>
      <vt:lpstr>PowerPoint Presentation</vt:lpstr>
      <vt:lpstr>Unique Selling Proposition (USP)</vt:lpstr>
      <vt:lpstr>WVD Lizenzanforderungen  Viele Kunden haben bereits Anspruch auf WVD</vt:lpstr>
      <vt:lpstr>PowerPoint Presentation</vt:lpstr>
      <vt:lpstr>PowerPoint Presentation</vt:lpstr>
      <vt:lpstr>Link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annes Noebauer</dc:creator>
  <cp:lastModifiedBy>Johannes Noebauer</cp:lastModifiedBy>
  <cp:revision>9</cp:revision>
  <dcterms:created xsi:type="dcterms:W3CDTF">2019-09-11T12:40:11Z</dcterms:created>
  <dcterms:modified xsi:type="dcterms:W3CDTF">2020-03-10T15:59:46Z</dcterms:modified>
</cp:coreProperties>
</file>